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4861" r:id="rId5"/>
    <p:sldMasterId id="2147484831" r:id="rId6"/>
    <p:sldMasterId id="2147484873" r:id="rId7"/>
    <p:sldMasterId id="2147484900" r:id="rId8"/>
    <p:sldMasterId id="2147496261" r:id="rId9"/>
  </p:sldMasterIdLst>
  <p:notesMasterIdLst>
    <p:notesMasterId r:id="rId24"/>
  </p:notesMasterIdLst>
  <p:handoutMasterIdLst>
    <p:handoutMasterId r:id="rId25"/>
  </p:handoutMasterIdLst>
  <p:sldIdLst>
    <p:sldId id="555" r:id="rId10"/>
    <p:sldId id="8786" r:id="rId11"/>
    <p:sldId id="8792" r:id="rId12"/>
    <p:sldId id="8789" r:id="rId13"/>
    <p:sldId id="8790" r:id="rId14"/>
    <p:sldId id="8809" r:id="rId15"/>
    <p:sldId id="8813" r:id="rId16"/>
    <p:sldId id="8795" r:id="rId17"/>
    <p:sldId id="8806" r:id="rId18"/>
    <p:sldId id="8798" r:id="rId19"/>
    <p:sldId id="8811" r:id="rId20"/>
    <p:sldId id="8791" r:id="rId21"/>
    <p:sldId id="8799" r:id="rId22"/>
    <p:sldId id="8801" r:id="rId23"/>
  </p:sldIdLst>
  <p:sldSz cx="9144000" cy="6858000" type="screen4x3"/>
  <p:notesSz cx="7010400" cy="9296400"/>
  <p:custDataLst>
    <p:tags r:id="rId26"/>
  </p:custDataLst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5613" indent="158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2813" indent="158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0013" indent="158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7213" indent="158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BC420764-8F54-420F-8C0D-79FB8057CECC}">
          <p14:sldIdLst>
            <p14:sldId id="555"/>
            <p14:sldId id="8786"/>
            <p14:sldId id="8792"/>
            <p14:sldId id="8789"/>
            <p14:sldId id="8790"/>
            <p14:sldId id="8809"/>
            <p14:sldId id="8813"/>
            <p14:sldId id="8795"/>
            <p14:sldId id="8806"/>
            <p14:sldId id="8798"/>
            <p14:sldId id="8811"/>
            <p14:sldId id="8791"/>
            <p14:sldId id="8799"/>
            <p14:sldId id="880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005">
          <p15:clr>
            <a:srgbClr val="A4A3A4"/>
          </p15:clr>
        </p15:guide>
        <p15:guide id="2" orient="horz" pos="1315">
          <p15:clr>
            <a:srgbClr val="A4A3A4"/>
          </p15:clr>
        </p15:guide>
        <p15:guide id="3" orient="horz" pos="1545">
          <p15:clr>
            <a:srgbClr val="A4A3A4"/>
          </p15:clr>
        </p15:guide>
        <p15:guide id="4" pos="5600">
          <p15:clr>
            <a:srgbClr val="A4A3A4"/>
          </p15:clr>
        </p15:guide>
        <p15:guide id="5" pos="2813">
          <p15:clr>
            <a:srgbClr val="A4A3A4"/>
          </p15:clr>
        </p15:guide>
        <p15:guide id="6" pos="254">
          <p15:clr>
            <a:srgbClr val="A4A3A4"/>
          </p15:clr>
        </p15:guide>
        <p15:guide id="7" pos="2948">
          <p15:clr>
            <a:srgbClr val="A4A3A4"/>
          </p15:clr>
        </p15:guide>
        <p15:guide id="8" pos="2049">
          <p15:clr>
            <a:srgbClr val="A4A3A4"/>
          </p15:clr>
        </p15:guide>
        <p15:guide id="9" pos="3709">
          <p15:clr>
            <a:srgbClr val="A4A3A4"/>
          </p15:clr>
        </p15:guide>
        <p15:guide id="10" pos="1914">
          <p15:clr>
            <a:srgbClr val="A4A3A4"/>
          </p15:clr>
        </p15:guide>
        <p15:guide id="11" pos="38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arma, Amit" initials="SA" lastIdx="1" clrIdx="0">
    <p:extLst>
      <p:ext uri="{19B8F6BF-5375-455C-9EA6-DF929625EA0E}">
        <p15:presenceInfo xmlns:p15="http://schemas.microsoft.com/office/powerpoint/2012/main" userId="S::Amit.Sharma@tatasteeleurope.com::82468be7-c0a0-4d67-82d4-cbd69d9c9f6c" providerId="AD"/>
      </p:ext>
    </p:extLst>
  </p:cmAuthor>
  <p:cmAuthor id="2" name="Ugur, Cem" initials="UC" lastIdx="3" clrIdx="1">
    <p:extLst>
      <p:ext uri="{19B8F6BF-5375-455C-9EA6-DF929625EA0E}">
        <p15:presenceInfo xmlns:p15="http://schemas.microsoft.com/office/powerpoint/2012/main" userId="S::Cem.Ugur@tatasteeleurope.com::7da4c1bd-67a4-4735-b9dd-712a45cc47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7EDB"/>
    <a:srgbClr val="A6A6A6"/>
    <a:srgbClr val="31A931"/>
    <a:srgbClr val="B1CBF1"/>
    <a:srgbClr val="FFCCCC"/>
    <a:srgbClr val="DDD9C3"/>
    <a:srgbClr val="FF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5" autoAdjust="0"/>
    <p:restoredTop sz="99822" autoAdjust="0"/>
  </p:normalViewPr>
  <p:slideViewPr>
    <p:cSldViewPr snapToGrid="0">
      <p:cViewPr varScale="1">
        <p:scale>
          <a:sx n="81" d="100"/>
          <a:sy n="81" d="100"/>
        </p:scale>
        <p:origin x="1526" y="72"/>
      </p:cViewPr>
      <p:guideLst>
        <p:guide orient="horz" pos="4005"/>
        <p:guide orient="horz" pos="1315"/>
        <p:guide orient="horz" pos="1545"/>
        <p:guide pos="5600"/>
        <p:guide pos="2813"/>
        <p:guide pos="254"/>
        <p:guide pos="2948"/>
        <p:guide pos="2049"/>
        <p:guide pos="3709"/>
        <p:guide pos="1914"/>
        <p:guide pos="38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 dirty="0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 dirty="0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220FA141-4560-4387-B424-E238F772A1DE}" type="presOf" srcId="{036E05A6-C120-4561-B918-9672EC4DF212}" destId="{21C9F37F-8B6F-483F-9666-26A7EC84E17D}" srcOrd="1" destOrd="0" presId="urn:microsoft.com/office/officeart/2005/8/layout/pyramid1"/>
    <dgm:cxn modelId="{1EF84549-0099-43EA-8559-3FAC02E857FC}" type="presOf" srcId="{036E05A6-C120-4561-B918-9672EC4DF212}" destId="{94C1C078-C725-4ABC-9144-4C7FEF361092}" srcOrd="0" destOrd="0" presId="urn:microsoft.com/office/officeart/2005/8/layout/pyramid1"/>
    <dgm:cxn modelId="{B304CD6E-EBC2-4D3E-A284-A24916A63782}" type="presOf" srcId="{116DCCD3-8980-4A14-A986-ADAA36F9D871}" destId="{35588734-8CD6-434A-A72E-4D71A8E05D51}" srcOrd="1" destOrd="0" presId="urn:microsoft.com/office/officeart/2005/8/layout/pyramid1"/>
    <dgm:cxn modelId="{E6E5B4CE-A2E7-48BA-ACB3-E8CE3BA8AEA7}" type="presOf" srcId="{358D9700-5E54-429B-99E5-321364A6C051}" destId="{EFCDD072-ED36-4EB6-AE37-82B0A30DEB5B}" srcOrd="1" destOrd="0" presId="urn:microsoft.com/office/officeart/2005/8/layout/pyramid1"/>
    <dgm:cxn modelId="{207AC1E9-99ED-47BE-B64C-C3CB1469639F}" type="presOf" srcId="{116DCCD3-8980-4A14-A986-ADAA36F9D871}" destId="{36DE7232-AC3E-478D-A42B-D2D23C532C73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C54488F5-BEBE-47B1-968C-6AB335A0242C}" type="presOf" srcId="{358D9700-5E54-429B-99E5-321364A6C051}" destId="{6DD9AFD6-85A3-4176-A6EC-F797AA86814C}" srcOrd="0" destOrd="0" presId="urn:microsoft.com/office/officeart/2005/8/layout/pyramid1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2D814EFA-FAC7-47B5-8978-F61B7DEFFC02}" type="presOf" srcId="{3AFA1F7A-CEDA-4B92-B41E-81A5AF4D1C16}" destId="{D73CE0FD-9835-4BB9-9041-24EE4118EC29}" srcOrd="0" destOrd="0" presId="urn:microsoft.com/office/officeart/2005/8/layout/pyramid1"/>
    <dgm:cxn modelId="{96086504-AF0B-4CC4-97CC-D9B0FA981754}" type="presParOf" srcId="{D73CE0FD-9835-4BB9-9041-24EE4118EC29}" destId="{9AE5CF01-E2AE-49A2-B42F-1DA5CE4D59D2}" srcOrd="0" destOrd="0" presId="urn:microsoft.com/office/officeart/2005/8/layout/pyramid1"/>
    <dgm:cxn modelId="{FA31652A-7445-4201-9DF5-3D748D7D1700}" type="presParOf" srcId="{9AE5CF01-E2AE-49A2-B42F-1DA5CE4D59D2}" destId="{94C1C078-C725-4ABC-9144-4C7FEF361092}" srcOrd="0" destOrd="0" presId="urn:microsoft.com/office/officeart/2005/8/layout/pyramid1"/>
    <dgm:cxn modelId="{810B3BF9-3C76-4D93-A414-2F84FB8E4E5D}" type="presParOf" srcId="{9AE5CF01-E2AE-49A2-B42F-1DA5CE4D59D2}" destId="{21C9F37F-8B6F-483F-9666-26A7EC84E17D}" srcOrd="1" destOrd="0" presId="urn:microsoft.com/office/officeart/2005/8/layout/pyramid1"/>
    <dgm:cxn modelId="{A99C8E4E-5234-463F-96EF-9BCCD77D645F}" type="presParOf" srcId="{D73CE0FD-9835-4BB9-9041-24EE4118EC29}" destId="{BFBF09FB-A38A-44A4-B2F6-7CA0CD54E3F5}" srcOrd="1" destOrd="0" presId="urn:microsoft.com/office/officeart/2005/8/layout/pyramid1"/>
    <dgm:cxn modelId="{C7C4006A-7EFC-4CC5-A35B-F2A9B74956CA}" type="presParOf" srcId="{BFBF09FB-A38A-44A4-B2F6-7CA0CD54E3F5}" destId="{36DE7232-AC3E-478D-A42B-D2D23C532C73}" srcOrd="0" destOrd="0" presId="urn:microsoft.com/office/officeart/2005/8/layout/pyramid1"/>
    <dgm:cxn modelId="{DD452915-CEFC-45DC-8B44-8D36856734EF}" type="presParOf" srcId="{BFBF09FB-A38A-44A4-B2F6-7CA0CD54E3F5}" destId="{35588734-8CD6-434A-A72E-4D71A8E05D51}" srcOrd="1" destOrd="0" presId="urn:microsoft.com/office/officeart/2005/8/layout/pyramid1"/>
    <dgm:cxn modelId="{88663549-35F1-4D69-B046-5F8F5CEEA2DC}" type="presParOf" srcId="{D73CE0FD-9835-4BB9-9041-24EE4118EC29}" destId="{08BA50B0-ECF5-4922-9294-B81E13407B21}" srcOrd="2" destOrd="0" presId="urn:microsoft.com/office/officeart/2005/8/layout/pyramid1"/>
    <dgm:cxn modelId="{F724E0F3-0B3A-4CBA-A252-D4E2A1DD20BA}" type="presParOf" srcId="{08BA50B0-ECF5-4922-9294-B81E13407B21}" destId="{6DD9AFD6-85A3-4176-A6EC-F797AA86814C}" srcOrd="0" destOrd="0" presId="urn:microsoft.com/office/officeart/2005/8/layout/pyramid1"/>
    <dgm:cxn modelId="{0DF52B8C-37C8-4213-9BF3-FC66D1B42A74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 dirty="0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 dirty="0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3E970D18-6CB4-4A8A-91CE-A34277AC6F44}" type="presOf" srcId="{116DCCD3-8980-4A14-A986-ADAA36F9D871}" destId="{36DE7232-AC3E-478D-A42B-D2D23C532C73}" srcOrd="0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419F8341-B0A9-4A33-B548-45DFA70969A0}" type="presOf" srcId="{036E05A6-C120-4561-B918-9672EC4DF212}" destId="{21C9F37F-8B6F-483F-9666-26A7EC84E17D}" srcOrd="1" destOrd="0" presId="urn:microsoft.com/office/officeart/2005/8/layout/pyramid1"/>
    <dgm:cxn modelId="{33084244-E0C2-42C8-84C9-266C4512E909}" type="presOf" srcId="{358D9700-5E54-429B-99E5-321364A6C051}" destId="{6DD9AFD6-85A3-4176-A6EC-F797AA86814C}" srcOrd="0" destOrd="0" presId="urn:microsoft.com/office/officeart/2005/8/layout/pyramid1"/>
    <dgm:cxn modelId="{37B9C145-EF59-4418-B895-A1EB074207E2}" type="presOf" srcId="{116DCCD3-8980-4A14-A986-ADAA36F9D871}" destId="{35588734-8CD6-434A-A72E-4D71A8E05D51}" srcOrd="1" destOrd="0" presId="urn:microsoft.com/office/officeart/2005/8/layout/pyramid1"/>
    <dgm:cxn modelId="{27417C5A-0C4F-45FB-B578-3FE4BC77C408}" type="presOf" srcId="{358D9700-5E54-429B-99E5-321364A6C051}" destId="{EFCDD072-ED36-4EB6-AE37-82B0A30DEB5B}" srcOrd="1" destOrd="0" presId="urn:microsoft.com/office/officeart/2005/8/layout/pyramid1"/>
    <dgm:cxn modelId="{FA9BD2BF-891B-4D08-9E42-52860AD3A95D}" type="presOf" srcId="{036E05A6-C120-4561-B918-9672EC4DF212}" destId="{94C1C078-C725-4ABC-9144-4C7FEF361092}" srcOrd="0" destOrd="0" presId="urn:microsoft.com/office/officeart/2005/8/layout/pyramid1"/>
    <dgm:cxn modelId="{2B6A43E1-A39C-4B3A-B780-6E315A186DA3}" type="presOf" srcId="{3AFA1F7A-CEDA-4B92-B41E-81A5AF4D1C16}" destId="{D73CE0FD-9835-4BB9-9041-24EE4118EC29}" srcOrd="0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DAE8167A-1F42-473D-9AD5-6283CE4747C6}" type="presParOf" srcId="{D73CE0FD-9835-4BB9-9041-24EE4118EC29}" destId="{9AE5CF01-E2AE-49A2-B42F-1DA5CE4D59D2}" srcOrd="0" destOrd="0" presId="urn:microsoft.com/office/officeart/2005/8/layout/pyramid1"/>
    <dgm:cxn modelId="{63D6E6AE-16B3-4FA8-9896-720ECC499F8A}" type="presParOf" srcId="{9AE5CF01-E2AE-49A2-B42F-1DA5CE4D59D2}" destId="{94C1C078-C725-4ABC-9144-4C7FEF361092}" srcOrd="0" destOrd="0" presId="urn:microsoft.com/office/officeart/2005/8/layout/pyramid1"/>
    <dgm:cxn modelId="{9DB5B406-39BA-4012-AA75-9B0298CD3A5D}" type="presParOf" srcId="{9AE5CF01-E2AE-49A2-B42F-1DA5CE4D59D2}" destId="{21C9F37F-8B6F-483F-9666-26A7EC84E17D}" srcOrd="1" destOrd="0" presId="urn:microsoft.com/office/officeart/2005/8/layout/pyramid1"/>
    <dgm:cxn modelId="{884FE0B2-9207-4174-9F9F-A5E490276AEF}" type="presParOf" srcId="{D73CE0FD-9835-4BB9-9041-24EE4118EC29}" destId="{BFBF09FB-A38A-44A4-B2F6-7CA0CD54E3F5}" srcOrd="1" destOrd="0" presId="urn:microsoft.com/office/officeart/2005/8/layout/pyramid1"/>
    <dgm:cxn modelId="{EE1D5D73-E64B-4EAB-B6A1-823FD7767B4A}" type="presParOf" srcId="{BFBF09FB-A38A-44A4-B2F6-7CA0CD54E3F5}" destId="{36DE7232-AC3E-478D-A42B-D2D23C532C73}" srcOrd="0" destOrd="0" presId="urn:microsoft.com/office/officeart/2005/8/layout/pyramid1"/>
    <dgm:cxn modelId="{5BB6A18D-5A4F-4074-B86A-B13F58CB5542}" type="presParOf" srcId="{BFBF09FB-A38A-44A4-B2F6-7CA0CD54E3F5}" destId="{35588734-8CD6-434A-A72E-4D71A8E05D51}" srcOrd="1" destOrd="0" presId="urn:microsoft.com/office/officeart/2005/8/layout/pyramid1"/>
    <dgm:cxn modelId="{4869125A-DF10-48BE-BAB2-D92E4F5B2E9B}" type="presParOf" srcId="{D73CE0FD-9835-4BB9-9041-24EE4118EC29}" destId="{08BA50B0-ECF5-4922-9294-B81E13407B21}" srcOrd="2" destOrd="0" presId="urn:microsoft.com/office/officeart/2005/8/layout/pyramid1"/>
    <dgm:cxn modelId="{97465F7A-D6E7-406B-8866-B6E44B892581}" type="presParOf" srcId="{08BA50B0-ECF5-4922-9294-B81E13407B21}" destId="{6DD9AFD6-85A3-4176-A6EC-F797AA86814C}" srcOrd="0" destOrd="0" presId="urn:microsoft.com/office/officeart/2005/8/layout/pyramid1"/>
    <dgm:cxn modelId="{B1E5CF78-14C5-4DCE-8CCF-22865191DB97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B849D829-EAA7-4F4C-A886-6904E588F8B4}" type="presOf" srcId="{116DCCD3-8980-4A14-A986-ADAA36F9D871}" destId="{36DE7232-AC3E-478D-A42B-D2D23C532C73}" srcOrd="0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3A45143F-C17D-4F38-B765-B3C64D0E27DE}" type="presOf" srcId="{116DCCD3-8980-4A14-A986-ADAA36F9D871}" destId="{35588734-8CD6-434A-A72E-4D71A8E05D51}" srcOrd="1" destOrd="0" presId="urn:microsoft.com/office/officeart/2005/8/layout/pyramid1"/>
    <dgm:cxn modelId="{69784A60-B462-4ED4-9F7C-DD0BE8683F5C}" type="presOf" srcId="{036E05A6-C120-4561-B918-9672EC4DF212}" destId="{94C1C078-C725-4ABC-9144-4C7FEF361092}" srcOrd="0" destOrd="0" presId="urn:microsoft.com/office/officeart/2005/8/layout/pyramid1"/>
    <dgm:cxn modelId="{45F64E41-077B-4AA1-A765-7FBEE7A3D457}" type="presOf" srcId="{358D9700-5E54-429B-99E5-321364A6C051}" destId="{EFCDD072-ED36-4EB6-AE37-82B0A30DEB5B}" srcOrd="1" destOrd="0" presId="urn:microsoft.com/office/officeart/2005/8/layout/pyramid1"/>
    <dgm:cxn modelId="{34C34872-3249-4E7A-B7BB-2E5EA1CF1D12}" type="presOf" srcId="{358D9700-5E54-429B-99E5-321364A6C051}" destId="{6DD9AFD6-85A3-4176-A6EC-F797AA86814C}" srcOrd="0" destOrd="0" presId="urn:microsoft.com/office/officeart/2005/8/layout/pyramid1"/>
    <dgm:cxn modelId="{17C1D68B-89B5-4589-A42A-7C307A5FAC69}" type="presOf" srcId="{3AFA1F7A-CEDA-4B92-B41E-81A5AF4D1C16}" destId="{D73CE0FD-9835-4BB9-9041-24EE4118EC29}" srcOrd="0" destOrd="0" presId="urn:microsoft.com/office/officeart/2005/8/layout/pyramid1"/>
    <dgm:cxn modelId="{A2B1C1A6-BC3A-473E-905D-98688CC92B1B}" type="presOf" srcId="{036E05A6-C120-4561-B918-9672EC4DF212}" destId="{21C9F37F-8B6F-483F-9666-26A7EC84E17D}" srcOrd="1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7A5E476E-E890-4959-B370-D33CA6E0F839}" type="presParOf" srcId="{D73CE0FD-9835-4BB9-9041-24EE4118EC29}" destId="{9AE5CF01-E2AE-49A2-B42F-1DA5CE4D59D2}" srcOrd="0" destOrd="0" presId="urn:microsoft.com/office/officeart/2005/8/layout/pyramid1"/>
    <dgm:cxn modelId="{34225E71-5FC4-49B0-97C0-4DE3C8B270E6}" type="presParOf" srcId="{9AE5CF01-E2AE-49A2-B42F-1DA5CE4D59D2}" destId="{94C1C078-C725-4ABC-9144-4C7FEF361092}" srcOrd="0" destOrd="0" presId="urn:microsoft.com/office/officeart/2005/8/layout/pyramid1"/>
    <dgm:cxn modelId="{B03A5D7C-8A26-4163-B1B7-755222545A6F}" type="presParOf" srcId="{9AE5CF01-E2AE-49A2-B42F-1DA5CE4D59D2}" destId="{21C9F37F-8B6F-483F-9666-26A7EC84E17D}" srcOrd="1" destOrd="0" presId="urn:microsoft.com/office/officeart/2005/8/layout/pyramid1"/>
    <dgm:cxn modelId="{BFE68440-AAE9-430A-9071-76AEC4ED095D}" type="presParOf" srcId="{D73CE0FD-9835-4BB9-9041-24EE4118EC29}" destId="{BFBF09FB-A38A-44A4-B2F6-7CA0CD54E3F5}" srcOrd="1" destOrd="0" presId="urn:microsoft.com/office/officeart/2005/8/layout/pyramid1"/>
    <dgm:cxn modelId="{B0898F61-6E81-4CFF-92D4-62222610E317}" type="presParOf" srcId="{BFBF09FB-A38A-44A4-B2F6-7CA0CD54E3F5}" destId="{36DE7232-AC3E-478D-A42B-D2D23C532C73}" srcOrd="0" destOrd="0" presId="urn:microsoft.com/office/officeart/2005/8/layout/pyramid1"/>
    <dgm:cxn modelId="{42EAFE66-7ABC-41F8-AE96-42D7F1781352}" type="presParOf" srcId="{BFBF09FB-A38A-44A4-B2F6-7CA0CD54E3F5}" destId="{35588734-8CD6-434A-A72E-4D71A8E05D51}" srcOrd="1" destOrd="0" presId="urn:microsoft.com/office/officeart/2005/8/layout/pyramid1"/>
    <dgm:cxn modelId="{101328C8-AADD-4648-91BE-F09CFA2AB3C6}" type="presParOf" srcId="{D73CE0FD-9835-4BB9-9041-24EE4118EC29}" destId="{08BA50B0-ECF5-4922-9294-B81E13407B21}" srcOrd="2" destOrd="0" presId="urn:microsoft.com/office/officeart/2005/8/layout/pyramid1"/>
    <dgm:cxn modelId="{8F916905-A5F6-4F1B-9BC1-A5852DF14710}" type="presParOf" srcId="{08BA50B0-ECF5-4922-9294-B81E13407B21}" destId="{6DD9AFD6-85A3-4176-A6EC-F797AA86814C}" srcOrd="0" destOrd="0" presId="urn:microsoft.com/office/officeart/2005/8/layout/pyramid1"/>
    <dgm:cxn modelId="{89AAA1B2-55A8-4955-B6DF-84C5CC907F95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AFA1F7A-CEDA-4B92-B41E-81A5AF4D1C16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036E05A6-C120-4561-B918-9672EC4DF212}">
      <dgm:prSet phldrT="[Text]" phldr="1" custT="1"/>
      <dgm:spPr>
        <a:solidFill>
          <a:schemeClr val="accent6">
            <a:lumMod val="10000"/>
            <a:lumOff val="90000"/>
          </a:schemeClr>
        </a:solidFill>
      </dgm:spPr>
      <dgm:t>
        <a:bodyPr/>
        <a:lstStyle/>
        <a:p>
          <a:endParaRPr lang="en-IN" sz="1600" b="1" dirty="0"/>
        </a:p>
      </dgm:t>
    </dgm:pt>
    <dgm:pt modelId="{54050488-FB99-4DFD-921F-BC7A2E7205D9}" type="parTrans" cxnId="{6B2E71EE-0818-4FD9-B55B-F7397C83565A}">
      <dgm:prSet/>
      <dgm:spPr/>
      <dgm:t>
        <a:bodyPr/>
        <a:lstStyle/>
        <a:p>
          <a:endParaRPr lang="en-IN" sz="1800"/>
        </a:p>
      </dgm:t>
    </dgm:pt>
    <dgm:pt modelId="{588A779F-B8A7-4620-8231-F2FEFD5F297E}" type="sibTrans" cxnId="{6B2E71EE-0818-4FD9-B55B-F7397C83565A}">
      <dgm:prSet/>
      <dgm:spPr/>
      <dgm:t>
        <a:bodyPr/>
        <a:lstStyle/>
        <a:p>
          <a:endParaRPr lang="en-IN" sz="1800"/>
        </a:p>
      </dgm:t>
    </dgm:pt>
    <dgm:pt modelId="{116DCCD3-8980-4A14-A986-ADAA36F9D871}">
      <dgm:prSet phldrT="[Text]" phldr="1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endParaRPr lang="en-IN" sz="1600" b="1"/>
        </a:p>
      </dgm:t>
    </dgm:pt>
    <dgm:pt modelId="{AC94EE97-4359-40A7-B929-13EB1E99C262}" type="parTrans" cxnId="{E4162A3A-810D-4193-9BD8-D008759540C1}">
      <dgm:prSet/>
      <dgm:spPr/>
      <dgm:t>
        <a:bodyPr/>
        <a:lstStyle/>
        <a:p>
          <a:endParaRPr lang="en-IN" sz="1800"/>
        </a:p>
      </dgm:t>
    </dgm:pt>
    <dgm:pt modelId="{C2272F06-EF5D-4C38-8E71-4268BFEF288A}" type="sibTrans" cxnId="{E4162A3A-810D-4193-9BD8-D008759540C1}">
      <dgm:prSet/>
      <dgm:spPr/>
      <dgm:t>
        <a:bodyPr/>
        <a:lstStyle/>
        <a:p>
          <a:endParaRPr lang="en-IN" sz="1800"/>
        </a:p>
      </dgm:t>
    </dgm:pt>
    <dgm:pt modelId="{358D9700-5E54-429B-99E5-321364A6C051}">
      <dgm:prSet phldrT="[Text]" phldr="1" custT="1"/>
      <dgm:spPr>
        <a:solidFill>
          <a:schemeClr val="tx2">
            <a:lumMod val="50000"/>
          </a:schemeClr>
        </a:solidFill>
      </dgm:spPr>
      <dgm:t>
        <a:bodyPr/>
        <a:lstStyle/>
        <a:p>
          <a:endParaRPr lang="en-IN" sz="1600" b="1"/>
        </a:p>
      </dgm:t>
    </dgm:pt>
    <dgm:pt modelId="{88377AD5-7DCE-4122-A9B4-179FF29D5107}" type="parTrans" cxnId="{6E7FB6F6-6BEC-43A1-A508-159FF33CDFD3}">
      <dgm:prSet/>
      <dgm:spPr/>
      <dgm:t>
        <a:bodyPr/>
        <a:lstStyle/>
        <a:p>
          <a:endParaRPr lang="en-IN" sz="1800"/>
        </a:p>
      </dgm:t>
    </dgm:pt>
    <dgm:pt modelId="{BEC2A4D9-652D-4F8F-80A4-F617854C21CE}" type="sibTrans" cxnId="{6E7FB6F6-6BEC-43A1-A508-159FF33CDFD3}">
      <dgm:prSet/>
      <dgm:spPr/>
      <dgm:t>
        <a:bodyPr/>
        <a:lstStyle/>
        <a:p>
          <a:endParaRPr lang="en-IN" sz="1800"/>
        </a:p>
      </dgm:t>
    </dgm:pt>
    <dgm:pt modelId="{D73CE0FD-9835-4BB9-9041-24EE4118EC29}" type="pres">
      <dgm:prSet presAssocID="{3AFA1F7A-CEDA-4B92-B41E-81A5AF4D1C16}" presName="Name0" presStyleCnt="0">
        <dgm:presLayoutVars>
          <dgm:dir/>
          <dgm:animLvl val="lvl"/>
          <dgm:resizeHandles val="exact"/>
        </dgm:presLayoutVars>
      </dgm:prSet>
      <dgm:spPr/>
    </dgm:pt>
    <dgm:pt modelId="{9AE5CF01-E2AE-49A2-B42F-1DA5CE4D59D2}" type="pres">
      <dgm:prSet presAssocID="{036E05A6-C120-4561-B918-9672EC4DF212}" presName="Name8" presStyleCnt="0"/>
      <dgm:spPr/>
    </dgm:pt>
    <dgm:pt modelId="{94C1C078-C725-4ABC-9144-4C7FEF361092}" type="pres">
      <dgm:prSet presAssocID="{036E05A6-C120-4561-B918-9672EC4DF212}" presName="level" presStyleLbl="node1" presStyleIdx="0" presStyleCnt="3">
        <dgm:presLayoutVars>
          <dgm:chMax val="1"/>
          <dgm:bulletEnabled val="1"/>
        </dgm:presLayoutVars>
      </dgm:prSet>
      <dgm:spPr/>
    </dgm:pt>
    <dgm:pt modelId="{21C9F37F-8B6F-483F-9666-26A7EC84E17D}" type="pres">
      <dgm:prSet presAssocID="{036E05A6-C120-4561-B918-9672EC4DF21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FBF09FB-A38A-44A4-B2F6-7CA0CD54E3F5}" type="pres">
      <dgm:prSet presAssocID="{116DCCD3-8980-4A14-A986-ADAA36F9D871}" presName="Name8" presStyleCnt="0"/>
      <dgm:spPr/>
    </dgm:pt>
    <dgm:pt modelId="{36DE7232-AC3E-478D-A42B-D2D23C532C73}" type="pres">
      <dgm:prSet presAssocID="{116DCCD3-8980-4A14-A986-ADAA36F9D871}" presName="level" presStyleLbl="node1" presStyleIdx="1" presStyleCnt="3">
        <dgm:presLayoutVars>
          <dgm:chMax val="1"/>
          <dgm:bulletEnabled val="1"/>
        </dgm:presLayoutVars>
      </dgm:prSet>
      <dgm:spPr/>
    </dgm:pt>
    <dgm:pt modelId="{35588734-8CD6-434A-A72E-4D71A8E05D51}" type="pres">
      <dgm:prSet presAssocID="{116DCCD3-8980-4A14-A986-ADAA36F9D871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8BA50B0-ECF5-4922-9294-B81E13407B21}" type="pres">
      <dgm:prSet presAssocID="{358D9700-5E54-429B-99E5-321364A6C051}" presName="Name8" presStyleCnt="0"/>
      <dgm:spPr/>
    </dgm:pt>
    <dgm:pt modelId="{6DD9AFD6-85A3-4176-A6EC-F797AA86814C}" type="pres">
      <dgm:prSet presAssocID="{358D9700-5E54-429B-99E5-321364A6C051}" presName="level" presStyleLbl="node1" presStyleIdx="2" presStyleCnt="3">
        <dgm:presLayoutVars>
          <dgm:chMax val="1"/>
          <dgm:bulletEnabled val="1"/>
        </dgm:presLayoutVars>
      </dgm:prSet>
      <dgm:spPr/>
    </dgm:pt>
    <dgm:pt modelId="{EFCDD072-ED36-4EB6-AE37-82B0A30DEB5B}" type="pres">
      <dgm:prSet presAssocID="{358D9700-5E54-429B-99E5-321364A6C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FBDF510-09D4-44DC-ACBB-5EAB5C254C89}" type="presOf" srcId="{358D9700-5E54-429B-99E5-321364A6C051}" destId="{EFCDD072-ED36-4EB6-AE37-82B0A30DEB5B}" srcOrd="1" destOrd="0" presId="urn:microsoft.com/office/officeart/2005/8/layout/pyramid1"/>
    <dgm:cxn modelId="{1E1D4919-7A3D-48FD-A9C8-FE3B4C2D5127}" type="presOf" srcId="{116DCCD3-8980-4A14-A986-ADAA36F9D871}" destId="{35588734-8CD6-434A-A72E-4D71A8E05D51}" srcOrd="1" destOrd="0" presId="urn:microsoft.com/office/officeart/2005/8/layout/pyramid1"/>
    <dgm:cxn modelId="{E4162A3A-810D-4193-9BD8-D008759540C1}" srcId="{3AFA1F7A-CEDA-4B92-B41E-81A5AF4D1C16}" destId="{116DCCD3-8980-4A14-A986-ADAA36F9D871}" srcOrd="1" destOrd="0" parTransId="{AC94EE97-4359-40A7-B929-13EB1E99C262}" sibTransId="{C2272F06-EF5D-4C38-8E71-4268BFEF288A}"/>
    <dgm:cxn modelId="{99623B3E-23D6-4804-A08D-D8517E4FFD29}" type="presOf" srcId="{3AFA1F7A-CEDA-4B92-B41E-81A5AF4D1C16}" destId="{D73CE0FD-9835-4BB9-9041-24EE4118EC29}" srcOrd="0" destOrd="0" presId="urn:microsoft.com/office/officeart/2005/8/layout/pyramid1"/>
    <dgm:cxn modelId="{7E858F99-1E31-4700-8AD5-FEB763E8F13B}" type="presOf" srcId="{116DCCD3-8980-4A14-A986-ADAA36F9D871}" destId="{36DE7232-AC3E-478D-A42B-D2D23C532C73}" srcOrd="0" destOrd="0" presId="urn:microsoft.com/office/officeart/2005/8/layout/pyramid1"/>
    <dgm:cxn modelId="{93341EB9-5C42-435A-A625-912241AD41B8}" type="presOf" srcId="{358D9700-5E54-429B-99E5-321364A6C051}" destId="{6DD9AFD6-85A3-4176-A6EC-F797AA86814C}" srcOrd="0" destOrd="0" presId="urn:microsoft.com/office/officeart/2005/8/layout/pyramid1"/>
    <dgm:cxn modelId="{B53821C1-C7B9-4F84-B6AB-F1A5A6475913}" type="presOf" srcId="{036E05A6-C120-4561-B918-9672EC4DF212}" destId="{94C1C078-C725-4ABC-9144-4C7FEF361092}" srcOrd="0" destOrd="0" presId="urn:microsoft.com/office/officeart/2005/8/layout/pyramid1"/>
    <dgm:cxn modelId="{F3F322C7-2867-4CA0-897D-ACE412BF7AD2}" type="presOf" srcId="{036E05A6-C120-4561-B918-9672EC4DF212}" destId="{21C9F37F-8B6F-483F-9666-26A7EC84E17D}" srcOrd="1" destOrd="0" presId="urn:microsoft.com/office/officeart/2005/8/layout/pyramid1"/>
    <dgm:cxn modelId="{6B2E71EE-0818-4FD9-B55B-F7397C83565A}" srcId="{3AFA1F7A-CEDA-4B92-B41E-81A5AF4D1C16}" destId="{036E05A6-C120-4561-B918-9672EC4DF212}" srcOrd="0" destOrd="0" parTransId="{54050488-FB99-4DFD-921F-BC7A2E7205D9}" sibTransId="{588A779F-B8A7-4620-8231-F2FEFD5F297E}"/>
    <dgm:cxn modelId="{6E7FB6F6-6BEC-43A1-A508-159FF33CDFD3}" srcId="{3AFA1F7A-CEDA-4B92-B41E-81A5AF4D1C16}" destId="{358D9700-5E54-429B-99E5-321364A6C051}" srcOrd="2" destOrd="0" parTransId="{88377AD5-7DCE-4122-A9B4-179FF29D5107}" sibTransId="{BEC2A4D9-652D-4F8F-80A4-F617854C21CE}"/>
    <dgm:cxn modelId="{F812BD68-920F-4DBC-82ED-0D366667BA23}" type="presParOf" srcId="{D73CE0FD-9835-4BB9-9041-24EE4118EC29}" destId="{9AE5CF01-E2AE-49A2-B42F-1DA5CE4D59D2}" srcOrd="0" destOrd="0" presId="urn:microsoft.com/office/officeart/2005/8/layout/pyramid1"/>
    <dgm:cxn modelId="{A318C3D0-DC8D-42D7-818D-BAAF9981EE0D}" type="presParOf" srcId="{9AE5CF01-E2AE-49A2-B42F-1DA5CE4D59D2}" destId="{94C1C078-C725-4ABC-9144-4C7FEF361092}" srcOrd="0" destOrd="0" presId="urn:microsoft.com/office/officeart/2005/8/layout/pyramid1"/>
    <dgm:cxn modelId="{22F82555-4BD1-42A5-9E52-3D2DA3494D7B}" type="presParOf" srcId="{9AE5CF01-E2AE-49A2-B42F-1DA5CE4D59D2}" destId="{21C9F37F-8B6F-483F-9666-26A7EC84E17D}" srcOrd="1" destOrd="0" presId="urn:microsoft.com/office/officeart/2005/8/layout/pyramid1"/>
    <dgm:cxn modelId="{37C7A518-C02A-4A79-8E19-EAFF3CC82499}" type="presParOf" srcId="{D73CE0FD-9835-4BB9-9041-24EE4118EC29}" destId="{BFBF09FB-A38A-44A4-B2F6-7CA0CD54E3F5}" srcOrd="1" destOrd="0" presId="urn:microsoft.com/office/officeart/2005/8/layout/pyramid1"/>
    <dgm:cxn modelId="{AC3F7560-A21B-45D6-9B37-047A1C590710}" type="presParOf" srcId="{BFBF09FB-A38A-44A4-B2F6-7CA0CD54E3F5}" destId="{36DE7232-AC3E-478D-A42B-D2D23C532C73}" srcOrd="0" destOrd="0" presId="urn:microsoft.com/office/officeart/2005/8/layout/pyramid1"/>
    <dgm:cxn modelId="{B24C570D-6AA9-4010-85F1-6AD637A514B4}" type="presParOf" srcId="{BFBF09FB-A38A-44A4-B2F6-7CA0CD54E3F5}" destId="{35588734-8CD6-434A-A72E-4D71A8E05D51}" srcOrd="1" destOrd="0" presId="urn:microsoft.com/office/officeart/2005/8/layout/pyramid1"/>
    <dgm:cxn modelId="{441AE95F-C483-4D4D-B60E-C97B8C4C6222}" type="presParOf" srcId="{D73CE0FD-9835-4BB9-9041-24EE4118EC29}" destId="{08BA50B0-ECF5-4922-9294-B81E13407B21}" srcOrd="2" destOrd="0" presId="urn:microsoft.com/office/officeart/2005/8/layout/pyramid1"/>
    <dgm:cxn modelId="{5A78770C-4AF3-4FFC-991E-55DD29A42DB3}" type="presParOf" srcId="{08BA50B0-ECF5-4922-9294-B81E13407B21}" destId="{6DD9AFD6-85A3-4176-A6EC-F797AA86814C}" srcOrd="0" destOrd="0" presId="urn:microsoft.com/office/officeart/2005/8/layout/pyramid1"/>
    <dgm:cxn modelId="{6C088211-DEC1-4D88-8768-814EBD9E6E30}" type="presParOf" srcId="{08BA50B0-ECF5-4922-9294-B81E13407B21}" destId="{EFCDD072-ED36-4EB6-AE37-82B0A30DEB5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501541-AE51-4CD8-A678-8093DC750BA7}" type="doc">
      <dgm:prSet loTypeId="urn:microsoft.com/office/officeart/2005/8/layout/process2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1DBB29-C0E6-4D95-8798-971D5E7DA274}">
      <dgm:prSet phldrT="[Text]"/>
      <dgm:spPr/>
      <dgm:t>
        <a:bodyPr/>
        <a:lstStyle/>
        <a:p>
          <a:r>
            <a:rPr lang="en-US" dirty="0"/>
            <a:t>Baselining</a:t>
          </a:r>
        </a:p>
      </dgm:t>
    </dgm:pt>
    <dgm:pt modelId="{3531CC28-0DAE-4720-A870-E8EDD3D0BFF8}" type="parTrans" cxnId="{62C6A5C0-7442-43E2-B28F-B59AD8F452C7}">
      <dgm:prSet/>
      <dgm:spPr/>
      <dgm:t>
        <a:bodyPr/>
        <a:lstStyle/>
        <a:p>
          <a:endParaRPr lang="en-US"/>
        </a:p>
      </dgm:t>
    </dgm:pt>
    <dgm:pt modelId="{1B7BF182-05A9-416D-BE6D-B44DF75FBE9A}" type="sibTrans" cxnId="{62C6A5C0-7442-43E2-B28F-B59AD8F452C7}">
      <dgm:prSet/>
      <dgm:spPr/>
      <dgm:t>
        <a:bodyPr/>
        <a:lstStyle/>
        <a:p>
          <a:endParaRPr lang="en-US"/>
        </a:p>
      </dgm:t>
    </dgm:pt>
    <dgm:pt modelId="{34FBF6F8-9559-4371-A9EA-AECEF0407DBE}">
      <dgm:prSet phldrT="[Text]"/>
      <dgm:spPr/>
      <dgm:t>
        <a:bodyPr/>
        <a:lstStyle/>
        <a:p>
          <a:r>
            <a:rPr lang="en-US" dirty="0"/>
            <a:t>Gap Analysis</a:t>
          </a:r>
        </a:p>
      </dgm:t>
    </dgm:pt>
    <dgm:pt modelId="{153DBE83-7528-421B-A208-366C5F902ECA}" type="parTrans" cxnId="{F0D8F96E-89B6-42B6-8C64-D2B0AF1B1D36}">
      <dgm:prSet/>
      <dgm:spPr/>
      <dgm:t>
        <a:bodyPr/>
        <a:lstStyle/>
        <a:p>
          <a:endParaRPr lang="en-US"/>
        </a:p>
      </dgm:t>
    </dgm:pt>
    <dgm:pt modelId="{40C3C4F8-F179-4283-AF2E-C190B4B06450}" type="sibTrans" cxnId="{F0D8F96E-89B6-42B6-8C64-D2B0AF1B1D36}">
      <dgm:prSet/>
      <dgm:spPr/>
      <dgm:t>
        <a:bodyPr/>
        <a:lstStyle/>
        <a:p>
          <a:endParaRPr lang="en-US"/>
        </a:p>
      </dgm:t>
    </dgm:pt>
    <dgm:pt modelId="{9B5E8FEE-B117-4EED-BC56-D762656D19DF}">
      <dgm:prSet phldrT="[Text]"/>
      <dgm:spPr/>
      <dgm:t>
        <a:bodyPr/>
        <a:lstStyle/>
        <a:p>
          <a:r>
            <a:rPr lang="en-US" dirty="0"/>
            <a:t>Market Analysis</a:t>
          </a:r>
        </a:p>
      </dgm:t>
    </dgm:pt>
    <dgm:pt modelId="{E229F15E-E390-42F9-B568-9CF2F4739242}" type="parTrans" cxnId="{05B8FA4B-4B00-4C7B-BFA0-84D1BA9A5CF8}">
      <dgm:prSet/>
      <dgm:spPr/>
      <dgm:t>
        <a:bodyPr/>
        <a:lstStyle/>
        <a:p>
          <a:endParaRPr lang="en-US"/>
        </a:p>
      </dgm:t>
    </dgm:pt>
    <dgm:pt modelId="{5D4E46B7-6BF8-4B56-8AF3-ADD0651650BD}" type="sibTrans" cxnId="{05B8FA4B-4B00-4C7B-BFA0-84D1BA9A5CF8}">
      <dgm:prSet/>
      <dgm:spPr/>
      <dgm:t>
        <a:bodyPr/>
        <a:lstStyle/>
        <a:p>
          <a:endParaRPr lang="en-US"/>
        </a:p>
      </dgm:t>
    </dgm:pt>
    <dgm:pt modelId="{2B947014-C78B-4F49-ABF1-0C37136CD542}">
      <dgm:prSet/>
      <dgm:spPr/>
      <dgm:t>
        <a:bodyPr/>
        <a:lstStyle/>
        <a:p>
          <a:r>
            <a:rPr lang="en-US" dirty="0"/>
            <a:t>Options Assessment</a:t>
          </a:r>
        </a:p>
      </dgm:t>
    </dgm:pt>
    <dgm:pt modelId="{6EF7685C-BA62-49B1-A510-BD17DCFF9539}" type="parTrans" cxnId="{7D9E5F82-75D9-48E1-AFAE-12C0ED33BB0F}">
      <dgm:prSet/>
      <dgm:spPr/>
      <dgm:t>
        <a:bodyPr/>
        <a:lstStyle/>
        <a:p>
          <a:endParaRPr lang="en-US"/>
        </a:p>
      </dgm:t>
    </dgm:pt>
    <dgm:pt modelId="{14C6D784-22E3-4579-B1D0-87AEDC5A388E}" type="sibTrans" cxnId="{7D9E5F82-75D9-48E1-AFAE-12C0ED33BB0F}">
      <dgm:prSet/>
      <dgm:spPr/>
      <dgm:t>
        <a:bodyPr/>
        <a:lstStyle/>
        <a:p>
          <a:endParaRPr lang="en-US"/>
        </a:p>
      </dgm:t>
    </dgm:pt>
    <dgm:pt modelId="{A342A002-787B-43E9-8D26-56005E6C7477}">
      <dgm:prSet/>
      <dgm:spPr/>
      <dgm:t>
        <a:bodyPr/>
        <a:lstStyle/>
        <a:p>
          <a:r>
            <a:rPr lang="en-US" dirty="0"/>
            <a:t>Implementation of </a:t>
          </a:r>
        </a:p>
        <a:p>
          <a:r>
            <a:rPr lang="en-US" dirty="0"/>
            <a:t>Decarbonization </a:t>
          </a:r>
        </a:p>
        <a:p>
          <a:r>
            <a:rPr lang="en-US" dirty="0"/>
            <a:t>Options</a:t>
          </a:r>
        </a:p>
      </dgm:t>
    </dgm:pt>
    <dgm:pt modelId="{64AAE09D-A442-47AC-A401-E76352FC28B1}" type="parTrans" cxnId="{0C9E9097-FB63-4E41-9FD2-89249CFEA9F6}">
      <dgm:prSet/>
      <dgm:spPr/>
      <dgm:t>
        <a:bodyPr/>
        <a:lstStyle/>
        <a:p>
          <a:endParaRPr lang="en-US"/>
        </a:p>
      </dgm:t>
    </dgm:pt>
    <dgm:pt modelId="{D36B2426-0925-4581-A168-61BA8E3470C8}" type="sibTrans" cxnId="{0C9E9097-FB63-4E41-9FD2-89249CFEA9F6}">
      <dgm:prSet/>
      <dgm:spPr/>
      <dgm:t>
        <a:bodyPr/>
        <a:lstStyle/>
        <a:p>
          <a:endParaRPr lang="en-US"/>
        </a:p>
      </dgm:t>
    </dgm:pt>
    <dgm:pt modelId="{69AF511C-C47F-42CA-B8C2-62DCF671C20B}" type="pres">
      <dgm:prSet presAssocID="{96501541-AE51-4CD8-A678-8093DC750BA7}" presName="linearFlow" presStyleCnt="0">
        <dgm:presLayoutVars>
          <dgm:resizeHandles val="exact"/>
        </dgm:presLayoutVars>
      </dgm:prSet>
      <dgm:spPr/>
    </dgm:pt>
    <dgm:pt modelId="{C1668E2A-B1E6-40DB-B56A-5773EB43FEF5}" type="pres">
      <dgm:prSet presAssocID="{701DBB29-C0E6-4D95-8798-971D5E7DA274}" presName="node" presStyleLbl="node1" presStyleIdx="0" presStyleCnt="5">
        <dgm:presLayoutVars>
          <dgm:bulletEnabled val="1"/>
        </dgm:presLayoutVars>
      </dgm:prSet>
      <dgm:spPr/>
    </dgm:pt>
    <dgm:pt modelId="{331DFB35-0C1B-4D48-8EAB-7A49A0735D2A}" type="pres">
      <dgm:prSet presAssocID="{1B7BF182-05A9-416D-BE6D-B44DF75FBE9A}" presName="sibTrans" presStyleLbl="sibTrans2D1" presStyleIdx="0" presStyleCnt="4"/>
      <dgm:spPr/>
    </dgm:pt>
    <dgm:pt modelId="{165CDF6F-ADBB-4090-8EBA-40FA04B95EE3}" type="pres">
      <dgm:prSet presAssocID="{1B7BF182-05A9-416D-BE6D-B44DF75FBE9A}" presName="connectorText" presStyleLbl="sibTrans2D1" presStyleIdx="0" presStyleCnt="4"/>
      <dgm:spPr/>
    </dgm:pt>
    <dgm:pt modelId="{1F537148-D4AA-4609-AEB4-DE47634AF759}" type="pres">
      <dgm:prSet presAssocID="{34FBF6F8-9559-4371-A9EA-AECEF0407DBE}" presName="node" presStyleLbl="node1" presStyleIdx="1" presStyleCnt="5">
        <dgm:presLayoutVars>
          <dgm:bulletEnabled val="1"/>
        </dgm:presLayoutVars>
      </dgm:prSet>
      <dgm:spPr/>
    </dgm:pt>
    <dgm:pt modelId="{331CC8B5-1047-4DAD-9C9E-FB8B40AFEB03}" type="pres">
      <dgm:prSet presAssocID="{40C3C4F8-F179-4283-AF2E-C190B4B06450}" presName="sibTrans" presStyleLbl="sibTrans2D1" presStyleIdx="1" presStyleCnt="4"/>
      <dgm:spPr/>
    </dgm:pt>
    <dgm:pt modelId="{27303E5E-BBB9-42A5-9073-BD2F95556769}" type="pres">
      <dgm:prSet presAssocID="{40C3C4F8-F179-4283-AF2E-C190B4B06450}" presName="connectorText" presStyleLbl="sibTrans2D1" presStyleIdx="1" presStyleCnt="4"/>
      <dgm:spPr/>
    </dgm:pt>
    <dgm:pt modelId="{66CFC4B1-60E1-4071-99D7-41188058DF13}" type="pres">
      <dgm:prSet presAssocID="{9B5E8FEE-B117-4EED-BC56-D762656D19DF}" presName="node" presStyleLbl="node1" presStyleIdx="2" presStyleCnt="5">
        <dgm:presLayoutVars>
          <dgm:bulletEnabled val="1"/>
        </dgm:presLayoutVars>
      </dgm:prSet>
      <dgm:spPr/>
    </dgm:pt>
    <dgm:pt modelId="{CB29FFFB-CE22-4A3C-B9CA-4B35D0E48CAA}" type="pres">
      <dgm:prSet presAssocID="{5D4E46B7-6BF8-4B56-8AF3-ADD0651650BD}" presName="sibTrans" presStyleLbl="sibTrans2D1" presStyleIdx="2" presStyleCnt="4"/>
      <dgm:spPr/>
    </dgm:pt>
    <dgm:pt modelId="{D4A76272-B7CF-4FBB-BC09-6F8F0A48F0DA}" type="pres">
      <dgm:prSet presAssocID="{5D4E46B7-6BF8-4B56-8AF3-ADD0651650BD}" presName="connectorText" presStyleLbl="sibTrans2D1" presStyleIdx="2" presStyleCnt="4"/>
      <dgm:spPr/>
    </dgm:pt>
    <dgm:pt modelId="{78C120B1-57E5-41D7-AC8E-5EA8CAF50F49}" type="pres">
      <dgm:prSet presAssocID="{2B947014-C78B-4F49-ABF1-0C37136CD542}" presName="node" presStyleLbl="node1" presStyleIdx="3" presStyleCnt="5">
        <dgm:presLayoutVars>
          <dgm:bulletEnabled val="1"/>
        </dgm:presLayoutVars>
      </dgm:prSet>
      <dgm:spPr/>
    </dgm:pt>
    <dgm:pt modelId="{F75E8DED-85EE-42E5-A401-D544EEF858E5}" type="pres">
      <dgm:prSet presAssocID="{14C6D784-22E3-4579-B1D0-87AEDC5A388E}" presName="sibTrans" presStyleLbl="sibTrans2D1" presStyleIdx="3" presStyleCnt="4"/>
      <dgm:spPr/>
    </dgm:pt>
    <dgm:pt modelId="{99FE179A-544E-47D1-B0DD-B7B3DAC0440C}" type="pres">
      <dgm:prSet presAssocID="{14C6D784-22E3-4579-B1D0-87AEDC5A388E}" presName="connectorText" presStyleLbl="sibTrans2D1" presStyleIdx="3" presStyleCnt="4"/>
      <dgm:spPr/>
    </dgm:pt>
    <dgm:pt modelId="{E47772D9-C9CD-4366-82C4-331B0D0CAD76}" type="pres">
      <dgm:prSet presAssocID="{A342A002-787B-43E9-8D26-56005E6C7477}" presName="node" presStyleLbl="node1" presStyleIdx="4" presStyleCnt="5">
        <dgm:presLayoutVars>
          <dgm:bulletEnabled val="1"/>
        </dgm:presLayoutVars>
      </dgm:prSet>
      <dgm:spPr/>
    </dgm:pt>
  </dgm:ptLst>
  <dgm:cxnLst>
    <dgm:cxn modelId="{BBA74E11-CF5D-418D-8D6E-DC87EE38BC6D}" type="presOf" srcId="{1B7BF182-05A9-416D-BE6D-B44DF75FBE9A}" destId="{331DFB35-0C1B-4D48-8EAB-7A49A0735D2A}" srcOrd="0" destOrd="0" presId="urn:microsoft.com/office/officeart/2005/8/layout/process2"/>
    <dgm:cxn modelId="{90DABC25-3AD0-4CAD-9C2C-2E3B44292C75}" type="presOf" srcId="{9B5E8FEE-B117-4EED-BC56-D762656D19DF}" destId="{66CFC4B1-60E1-4071-99D7-41188058DF13}" srcOrd="0" destOrd="0" presId="urn:microsoft.com/office/officeart/2005/8/layout/process2"/>
    <dgm:cxn modelId="{932C4D27-69A7-4749-BDB8-A26C72A71E90}" type="presOf" srcId="{40C3C4F8-F179-4283-AF2E-C190B4B06450}" destId="{27303E5E-BBB9-42A5-9073-BD2F95556769}" srcOrd="1" destOrd="0" presId="urn:microsoft.com/office/officeart/2005/8/layout/process2"/>
    <dgm:cxn modelId="{10563F37-B1A7-4D01-9D52-6FC8009EBEC0}" type="presOf" srcId="{34FBF6F8-9559-4371-A9EA-AECEF0407DBE}" destId="{1F537148-D4AA-4609-AEB4-DE47634AF759}" srcOrd="0" destOrd="0" presId="urn:microsoft.com/office/officeart/2005/8/layout/process2"/>
    <dgm:cxn modelId="{9CA97163-E5C4-4754-89AF-DEAFA5FE2BA3}" type="presOf" srcId="{14C6D784-22E3-4579-B1D0-87AEDC5A388E}" destId="{99FE179A-544E-47D1-B0DD-B7B3DAC0440C}" srcOrd="1" destOrd="0" presId="urn:microsoft.com/office/officeart/2005/8/layout/process2"/>
    <dgm:cxn modelId="{2862E167-277D-4D79-950B-8240A03204EE}" type="presOf" srcId="{96501541-AE51-4CD8-A678-8093DC750BA7}" destId="{69AF511C-C47F-42CA-B8C2-62DCF671C20B}" srcOrd="0" destOrd="0" presId="urn:microsoft.com/office/officeart/2005/8/layout/process2"/>
    <dgm:cxn modelId="{6622B74B-8E71-4B76-AC2B-DE8564C5A409}" type="presOf" srcId="{14C6D784-22E3-4579-B1D0-87AEDC5A388E}" destId="{F75E8DED-85EE-42E5-A401-D544EEF858E5}" srcOrd="0" destOrd="0" presId="urn:microsoft.com/office/officeart/2005/8/layout/process2"/>
    <dgm:cxn modelId="{05B8FA4B-4B00-4C7B-BFA0-84D1BA9A5CF8}" srcId="{96501541-AE51-4CD8-A678-8093DC750BA7}" destId="{9B5E8FEE-B117-4EED-BC56-D762656D19DF}" srcOrd="2" destOrd="0" parTransId="{E229F15E-E390-42F9-B568-9CF2F4739242}" sibTransId="{5D4E46B7-6BF8-4B56-8AF3-ADD0651650BD}"/>
    <dgm:cxn modelId="{9577324C-F4F9-4E8B-B9BD-44AE62311DEC}" type="presOf" srcId="{5D4E46B7-6BF8-4B56-8AF3-ADD0651650BD}" destId="{CB29FFFB-CE22-4A3C-B9CA-4B35D0E48CAA}" srcOrd="0" destOrd="0" presId="urn:microsoft.com/office/officeart/2005/8/layout/process2"/>
    <dgm:cxn modelId="{F0D8F96E-89B6-42B6-8C64-D2B0AF1B1D36}" srcId="{96501541-AE51-4CD8-A678-8093DC750BA7}" destId="{34FBF6F8-9559-4371-A9EA-AECEF0407DBE}" srcOrd="1" destOrd="0" parTransId="{153DBE83-7528-421B-A208-366C5F902ECA}" sibTransId="{40C3C4F8-F179-4283-AF2E-C190B4B06450}"/>
    <dgm:cxn modelId="{17AAEE50-B864-4DAB-8AA3-9C4C739E23E9}" type="presOf" srcId="{1B7BF182-05A9-416D-BE6D-B44DF75FBE9A}" destId="{165CDF6F-ADBB-4090-8EBA-40FA04B95EE3}" srcOrd="1" destOrd="0" presId="urn:microsoft.com/office/officeart/2005/8/layout/process2"/>
    <dgm:cxn modelId="{7D9E5F82-75D9-48E1-AFAE-12C0ED33BB0F}" srcId="{96501541-AE51-4CD8-A678-8093DC750BA7}" destId="{2B947014-C78B-4F49-ABF1-0C37136CD542}" srcOrd="3" destOrd="0" parTransId="{6EF7685C-BA62-49B1-A510-BD17DCFF9539}" sibTransId="{14C6D784-22E3-4579-B1D0-87AEDC5A388E}"/>
    <dgm:cxn modelId="{0C9E9097-FB63-4E41-9FD2-89249CFEA9F6}" srcId="{96501541-AE51-4CD8-A678-8093DC750BA7}" destId="{A342A002-787B-43E9-8D26-56005E6C7477}" srcOrd="4" destOrd="0" parTransId="{64AAE09D-A442-47AC-A401-E76352FC28B1}" sibTransId="{D36B2426-0925-4581-A168-61BA8E3470C8}"/>
    <dgm:cxn modelId="{91B843BD-8BF1-423A-8C2B-B5A353A21F20}" type="presOf" srcId="{5D4E46B7-6BF8-4B56-8AF3-ADD0651650BD}" destId="{D4A76272-B7CF-4FBB-BC09-6F8F0A48F0DA}" srcOrd="1" destOrd="0" presId="urn:microsoft.com/office/officeart/2005/8/layout/process2"/>
    <dgm:cxn modelId="{62C6A5C0-7442-43E2-B28F-B59AD8F452C7}" srcId="{96501541-AE51-4CD8-A678-8093DC750BA7}" destId="{701DBB29-C0E6-4D95-8798-971D5E7DA274}" srcOrd="0" destOrd="0" parTransId="{3531CC28-0DAE-4720-A870-E8EDD3D0BFF8}" sibTransId="{1B7BF182-05A9-416D-BE6D-B44DF75FBE9A}"/>
    <dgm:cxn modelId="{B2D304E0-2808-4336-846F-4FFD388BFB9D}" type="presOf" srcId="{40C3C4F8-F179-4283-AF2E-C190B4B06450}" destId="{331CC8B5-1047-4DAD-9C9E-FB8B40AFEB03}" srcOrd="0" destOrd="0" presId="urn:microsoft.com/office/officeart/2005/8/layout/process2"/>
    <dgm:cxn modelId="{5D7F03E9-1499-497D-ADB6-8A56A76E9213}" type="presOf" srcId="{2B947014-C78B-4F49-ABF1-0C37136CD542}" destId="{78C120B1-57E5-41D7-AC8E-5EA8CAF50F49}" srcOrd="0" destOrd="0" presId="urn:microsoft.com/office/officeart/2005/8/layout/process2"/>
    <dgm:cxn modelId="{1DCEA4F7-9AE5-46D8-9D4E-0640A234FBF2}" type="presOf" srcId="{701DBB29-C0E6-4D95-8798-971D5E7DA274}" destId="{C1668E2A-B1E6-40DB-B56A-5773EB43FEF5}" srcOrd="0" destOrd="0" presId="urn:microsoft.com/office/officeart/2005/8/layout/process2"/>
    <dgm:cxn modelId="{437AEEFB-483C-474C-8DD6-50B2F301BC78}" type="presOf" srcId="{A342A002-787B-43E9-8D26-56005E6C7477}" destId="{E47772D9-C9CD-4366-82C4-331B0D0CAD76}" srcOrd="0" destOrd="0" presId="urn:microsoft.com/office/officeart/2005/8/layout/process2"/>
    <dgm:cxn modelId="{42FA96C1-401C-4996-A7A2-A04E9941AF38}" type="presParOf" srcId="{69AF511C-C47F-42CA-B8C2-62DCF671C20B}" destId="{C1668E2A-B1E6-40DB-B56A-5773EB43FEF5}" srcOrd="0" destOrd="0" presId="urn:microsoft.com/office/officeart/2005/8/layout/process2"/>
    <dgm:cxn modelId="{950F1EC1-88E7-425B-8006-D15252F55268}" type="presParOf" srcId="{69AF511C-C47F-42CA-B8C2-62DCF671C20B}" destId="{331DFB35-0C1B-4D48-8EAB-7A49A0735D2A}" srcOrd="1" destOrd="0" presId="urn:microsoft.com/office/officeart/2005/8/layout/process2"/>
    <dgm:cxn modelId="{C1BE8B1D-BACE-4158-BB2F-B81529CA09A1}" type="presParOf" srcId="{331DFB35-0C1B-4D48-8EAB-7A49A0735D2A}" destId="{165CDF6F-ADBB-4090-8EBA-40FA04B95EE3}" srcOrd="0" destOrd="0" presId="urn:microsoft.com/office/officeart/2005/8/layout/process2"/>
    <dgm:cxn modelId="{F25517D9-3485-4AF7-930C-20B782A49055}" type="presParOf" srcId="{69AF511C-C47F-42CA-B8C2-62DCF671C20B}" destId="{1F537148-D4AA-4609-AEB4-DE47634AF759}" srcOrd="2" destOrd="0" presId="urn:microsoft.com/office/officeart/2005/8/layout/process2"/>
    <dgm:cxn modelId="{8A834DD5-8BE2-4168-A7DD-531797F61FCB}" type="presParOf" srcId="{69AF511C-C47F-42CA-B8C2-62DCF671C20B}" destId="{331CC8B5-1047-4DAD-9C9E-FB8B40AFEB03}" srcOrd="3" destOrd="0" presId="urn:microsoft.com/office/officeart/2005/8/layout/process2"/>
    <dgm:cxn modelId="{857CBDCC-CD50-4707-8D81-9D9B8F990A85}" type="presParOf" srcId="{331CC8B5-1047-4DAD-9C9E-FB8B40AFEB03}" destId="{27303E5E-BBB9-42A5-9073-BD2F95556769}" srcOrd="0" destOrd="0" presId="urn:microsoft.com/office/officeart/2005/8/layout/process2"/>
    <dgm:cxn modelId="{604D802F-E778-4185-9D32-BFE3C7D8A3FF}" type="presParOf" srcId="{69AF511C-C47F-42CA-B8C2-62DCF671C20B}" destId="{66CFC4B1-60E1-4071-99D7-41188058DF13}" srcOrd="4" destOrd="0" presId="urn:microsoft.com/office/officeart/2005/8/layout/process2"/>
    <dgm:cxn modelId="{806870C7-17E7-40D8-9F41-CB120FFE7FE5}" type="presParOf" srcId="{69AF511C-C47F-42CA-B8C2-62DCF671C20B}" destId="{CB29FFFB-CE22-4A3C-B9CA-4B35D0E48CAA}" srcOrd="5" destOrd="0" presId="urn:microsoft.com/office/officeart/2005/8/layout/process2"/>
    <dgm:cxn modelId="{2B04E695-6EA6-4A40-A5A7-281043C8F3C6}" type="presParOf" srcId="{CB29FFFB-CE22-4A3C-B9CA-4B35D0E48CAA}" destId="{D4A76272-B7CF-4FBB-BC09-6F8F0A48F0DA}" srcOrd="0" destOrd="0" presId="urn:microsoft.com/office/officeart/2005/8/layout/process2"/>
    <dgm:cxn modelId="{397DE79B-9D80-4B5B-9C7A-E9BA605E4DA3}" type="presParOf" srcId="{69AF511C-C47F-42CA-B8C2-62DCF671C20B}" destId="{78C120B1-57E5-41D7-AC8E-5EA8CAF50F49}" srcOrd="6" destOrd="0" presId="urn:microsoft.com/office/officeart/2005/8/layout/process2"/>
    <dgm:cxn modelId="{F4522AFF-15DA-49D9-A6D7-0C4218D8D91D}" type="presParOf" srcId="{69AF511C-C47F-42CA-B8C2-62DCF671C20B}" destId="{F75E8DED-85EE-42E5-A401-D544EEF858E5}" srcOrd="7" destOrd="0" presId="urn:microsoft.com/office/officeart/2005/8/layout/process2"/>
    <dgm:cxn modelId="{BB0F38C4-577E-4494-B7FC-5ED93DEBEEFE}" type="presParOf" srcId="{F75E8DED-85EE-42E5-A401-D544EEF858E5}" destId="{99FE179A-544E-47D1-B0DD-B7B3DAC0440C}" srcOrd="0" destOrd="0" presId="urn:microsoft.com/office/officeart/2005/8/layout/process2"/>
    <dgm:cxn modelId="{602ED356-FA23-4E5F-9F8E-9CA33F519546}" type="presParOf" srcId="{69AF511C-C47F-42CA-B8C2-62DCF671C20B}" destId="{E47772D9-C9CD-4366-82C4-331B0D0CAD76}" srcOrd="8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6501541-AE51-4CD8-A678-8093DC750BA7}" type="doc">
      <dgm:prSet loTypeId="urn:microsoft.com/office/officeart/2005/8/layout/process2" loCatId="process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01DBB29-C0E6-4D95-8798-971D5E7DA274}">
      <dgm:prSet phldrT="[Text]" custT="1"/>
      <dgm:spPr/>
      <dgm:t>
        <a:bodyPr/>
        <a:lstStyle/>
        <a:p>
          <a:r>
            <a:rPr lang="en-US" sz="1200" dirty="0"/>
            <a:t>3-tier Vessel Vetting process</a:t>
          </a:r>
        </a:p>
      </dgm:t>
    </dgm:pt>
    <dgm:pt modelId="{3531CC28-0DAE-4720-A870-E8EDD3D0BFF8}" type="parTrans" cxnId="{62C6A5C0-7442-43E2-B28F-B59AD8F452C7}">
      <dgm:prSet/>
      <dgm:spPr/>
      <dgm:t>
        <a:bodyPr/>
        <a:lstStyle/>
        <a:p>
          <a:endParaRPr lang="en-US" sz="1200"/>
        </a:p>
      </dgm:t>
    </dgm:pt>
    <dgm:pt modelId="{1B7BF182-05A9-416D-BE6D-B44DF75FBE9A}" type="sibTrans" cxnId="{62C6A5C0-7442-43E2-B28F-B59AD8F452C7}">
      <dgm:prSet custT="1"/>
      <dgm:spPr/>
      <dgm:t>
        <a:bodyPr/>
        <a:lstStyle/>
        <a:p>
          <a:endParaRPr lang="en-US" sz="1000"/>
        </a:p>
      </dgm:t>
    </dgm:pt>
    <dgm:pt modelId="{34FBF6F8-9559-4371-A9EA-AECEF0407DBE}">
      <dgm:prSet phldrT="[Text]" custT="1"/>
      <dgm:spPr/>
      <dgm:t>
        <a:bodyPr/>
        <a:lstStyle/>
        <a:p>
          <a:r>
            <a:rPr lang="en-US" sz="1200" dirty="0"/>
            <a:t>Escalation Mechanism</a:t>
          </a:r>
        </a:p>
      </dgm:t>
    </dgm:pt>
    <dgm:pt modelId="{153DBE83-7528-421B-A208-366C5F902ECA}" type="parTrans" cxnId="{F0D8F96E-89B6-42B6-8C64-D2B0AF1B1D36}">
      <dgm:prSet/>
      <dgm:spPr/>
      <dgm:t>
        <a:bodyPr/>
        <a:lstStyle/>
        <a:p>
          <a:endParaRPr lang="en-US" sz="1200"/>
        </a:p>
      </dgm:t>
    </dgm:pt>
    <dgm:pt modelId="{40C3C4F8-F179-4283-AF2E-C190B4B06450}" type="sibTrans" cxnId="{F0D8F96E-89B6-42B6-8C64-D2B0AF1B1D36}">
      <dgm:prSet custT="1"/>
      <dgm:spPr/>
      <dgm:t>
        <a:bodyPr/>
        <a:lstStyle/>
        <a:p>
          <a:endParaRPr lang="en-US" sz="1000"/>
        </a:p>
      </dgm:t>
    </dgm:pt>
    <dgm:pt modelId="{9B5E8FEE-B117-4EED-BC56-D762656D19DF}">
      <dgm:prSet phldrT="[Text]" custT="1"/>
      <dgm:spPr/>
      <dgm:t>
        <a:bodyPr/>
        <a:lstStyle/>
        <a:p>
          <a:r>
            <a:rPr lang="en-US" sz="1200" dirty="0"/>
            <a:t>Insurance Coverage</a:t>
          </a:r>
        </a:p>
      </dgm:t>
    </dgm:pt>
    <dgm:pt modelId="{E229F15E-E390-42F9-B568-9CF2F4739242}" type="parTrans" cxnId="{05B8FA4B-4B00-4C7B-BFA0-84D1BA9A5CF8}">
      <dgm:prSet/>
      <dgm:spPr/>
      <dgm:t>
        <a:bodyPr/>
        <a:lstStyle/>
        <a:p>
          <a:endParaRPr lang="en-US" sz="1200"/>
        </a:p>
      </dgm:t>
    </dgm:pt>
    <dgm:pt modelId="{5D4E46B7-6BF8-4B56-8AF3-ADD0651650BD}" type="sibTrans" cxnId="{05B8FA4B-4B00-4C7B-BFA0-84D1BA9A5CF8}">
      <dgm:prSet/>
      <dgm:spPr/>
      <dgm:t>
        <a:bodyPr/>
        <a:lstStyle/>
        <a:p>
          <a:endParaRPr lang="en-US" sz="1200"/>
        </a:p>
      </dgm:t>
    </dgm:pt>
    <dgm:pt modelId="{69AF511C-C47F-42CA-B8C2-62DCF671C20B}" type="pres">
      <dgm:prSet presAssocID="{96501541-AE51-4CD8-A678-8093DC750BA7}" presName="linearFlow" presStyleCnt="0">
        <dgm:presLayoutVars>
          <dgm:resizeHandles val="exact"/>
        </dgm:presLayoutVars>
      </dgm:prSet>
      <dgm:spPr/>
    </dgm:pt>
    <dgm:pt modelId="{C1668E2A-B1E6-40DB-B56A-5773EB43FEF5}" type="pres">
      <dgm:prSet presAssocID="{701DBB29-C0E6-4D95-8798-971D5E7DA274}" presName="node" presStyleLbl="node1" presStyleIdx="0" presStyleCnt="3">
        <dgm:presLayoutVars>
          <dgm:bulletEnabled val="1"/>
        </dgm:presLayoutVars>
      </dgm:prSet>
      <dgm:spPr/>
    </dgm:pt>
    <dgm:pt modelId="{331DFB35-0C1B-4D48-8EAB-7A49A0735D2A}" type="pres">
      <dgm:prSet presAssocID="{1B7BF182-05A9-416D-BE6D-B44DF75FBE9A}" presName="sibTrans" presStyleLbl="sibTrans2D1" presStyleIdx="0" presStyleCnt="2"/>
      <dgm:spPr/>
    </dgm:pt>
    <dgm:pt modelId="{165CDF6F-ADBB-4090-8EBA-40FA04B95EE3}" type="pres">
      <dgm:prSet presAssocID="{1B7BF182-05A9-416D-BE6D-B44DF75FBE9A}" presName="connectorText" presStyleLbl="sibTrans2D1" presStyleIdx="0" presStyleCnt="2"/>
      <dgm:spPr/>
    </dgm:pt>
    <dgm:pt modelId="{1F537148-D4AA-4609-AEB4-DE47634AF759}" type="pres">
      <dgm:prSet presAssocID="{34FBF6F8-9559-4371-A9EA-AECEF0407DBE}" presName="node" presStyleLbl="node1" presStyleIdx="1" presStyleCnt="3">
        <dgm:presLayoutVars>
          <dgm:bulletEnabled val="1"/>
        </dgm:presLayoutVars>
      </dgm:prSet>
      <dgm:spPr/>
    </dgm:pt>
    <dgm:pt modelId="{331CC8B5-1047-4DAD-9C9E-FB8B40AFEB03}" type="pres">
      <dgm:prSet presAssocID="{40C3C4F8-F179-4283-AF2E-C190B4B06450}" presName="sibTrans" presStyleLbl="sibTrans2D1" presStyleIdx="1" presStyleCnt="2"/>
      <dgm:spPr/>
    </dgm:pt>
    <dgm:pt modelId="{27303E5E-BBB9-42A5-9073-BD2F95556769}" type="pres">
      <dgm:prSet presAssocID="{40C3C4F8-F179-4283-AF2E-C190B4B06450}" presName="connectorText" presStyleLbl="sibTrans2D1" presStyleIdx="1" presStyleCnt="2"/>
      <dgm:spPr/>
    </dgm:pt>
    <dgm:pt modelId="{66CFC4B1-60E1-4071-99D7-41188058DF13}" type="pres">
      <dgm:prSet presAssocID="{9B5E8FEE-B117-4EED-BC56-D762656D19DF}" presName="node" presStyleLbl="node1" presStyleIdx="2" presStyleCnt="3">
        <dgm:presLayoutVars>
          <dgm:bulletEnabled val="1"/>
        </dgm:presLayoutVars>
      </dgm:prSet>
      <dgm:spPr/>
    </dgm:pt>
  </dgm:ptLst>
  <dgm:cxnLst>
    <dgm:cxn modelId="{BBA74E11-CF5D-418D-8D6E-DC87EE38BC6D}" type="presOf" srcId="{1B7BF182-05A9-416D-BE6D-B44DF75FBE9A}" destId="{331DFB35-0C1B-4D48-8EAB-7A49A0735D2A}" srcOrd="0" destOrd="0" presId="urn:microsoft.com/office/officeart/2005/8/layout/process2"/>
    <dgm:cxn modelId="{90DABC25-3AD0-4CAD-9C2C-2E3B44292C75}" type="presOf" srcId="{9B5E8FEE-B117-4EED-BC56-D762656D19DF}" destId="{66CFC4B1-60E1-4071-99D7-41188058DF13}" srcOrd="0" destOrd="0" presId="urn:microsoft.com/office/officeart/2005/8/layout/process2"/>
    <dgm:cxn modelId="{932C4D27-69A7-4749-BDB8-A26C72A71E90}" type="presOf" srcId="{40C3C4F8-F179-4283-AF2E-C190B4B06450}" destId="{27303E5E-BBB9-42A5-9073-BD2F95556769}" srcOrd="1" destOrd="0" presId="urn:microsoft.com/office/officeart/2005/8/layout/process2"/>
    <dgm:cxn modelId="{10563F37-B1A7-4D01-9D52-6FC8009EBEC0}" type="presOf" srcId="{34FBF6F8-9559-4371-A9EA-AECEF0407DBE}" destId="{1F537148-D4AA-4609-AEB4-DE47634AF759}" srcOrd="0" destOrd="0" presId="urn:microsoft.com/office/officeart/2005/8/layout/process2"/>
    <dgm:cxn modelId="{2862E167-277D-4D79-950B-8240A03204EE}" type="presOf" srcId="{96501541-AE51-4CD8-A678-8093DC750BA7}" destId="{69AF511C-C47F-42CA-B8C2-62DCF671C20B}" srcOrd="0" destOrd="0" presId="urn:microsoft.com/office/officeart/2005/8/layout/process2"/>
    <dgm:cxn modelId="{05B8FA4B-4B00-4C7B-BFA0-84D1BA9A5CF8}" srcId="{96501541-AE51-4CD8-A678-8093DC750BA7}" destId="{9B5E8FEE-B117-4EED-BC56-D762656D19DF}" srcOrd="2" destOrd="0" parTransId="{E229F15E-E390-42F9-B568-9CF2F4739242}" sibTransId="{5D4E46B7-6BF8-4B56-8AF3-ADD0651650BD}"/>
    <dgm:cxn modelId="{F0D8F96E-89B6-42B6-8C64-D2B0AF1B1D36}" srcId="{96501541-AE51-4CD8-A678-8093DC750BA7}" destId="{34FBF6F8-9559-4371-A9EA-AECEF0407DBE}" srcOrd="1" destOrd="0" parTransId="{153DBE83-7528-421B-A208-366C5F902ECA}" sibTransId="{40C3C4F8-F179-4283-AF2E-C190B4B06450}"/>
    <dgm:cxn modelId="{17AAEE50-B864-4DAB-8AA3-9C4C739E23E9}" type="presOf" srcId="{1B7BF182-05A9-416D-BE6D-B44DF75FBE9A}" destId="{165CDF6F-ADBB-4090-8EBA-40FA04B95EE3}" srcOrd="1" destOrd="0" presId="urn:microsoft.com/office/officeart/2005/8/layout/process2"/>
    <dgm:cxn modelId="{62C6A5C0-7442-43E2-B28F-B59AD8F452C7}" srcId="{96501541-AE51-4CD8-A678-8093DC750BA7}" destId="{701DBB29-C0E6-4D95-8798-971D5E7DA274}" srcOrd="0" destOrd="0" parTransId="{3531CC28-0DAE-4720-A870-E8EDD3D0BFF8}" sibTransId="{1B7BF182-05A9-416D-BE6D-B44DF75FBE9A}"/>
    <dgm:cxn modelId="{B2D304E0-2808-4336-846F-4FFD388BFB9D}" type="presOf" srcId="{40C3C4F8-F179-4283-AF2E-C190B4B06450}" destId="{331CC8B5-1047-4DAD-9C9E-FB8B40AFEB03}" srcOrd="0" destOrd="0" presId="urn:microsoft.com/office/officeart/2005/8/layout/process2"/>
    <dgm:cxn modelId="{1DCEA4F7-9AE5-46D8-9D4E-0640A234FBF2}" type="presOf" srcId="{701DBB29-C0E6-4D95-8798-971D5E7DA274}" destId="{C1668E2A-B1E6-40DB-B56A-5773EB43FEF5}" srcOrd="0" destOrd="0" presId="urn:microsoft.com/office/officeart/2005/8/layout/process2"/>
    <dgm:cxn modelId="{42FA96C1-401C-4996-A7A2-A04E9941AF38}" type="presParOf" srcId="{69AF511C-C47F-42CA-B8C2-62DCF671C20B}" destId="{C1668E2A-B1E6-40DB-B56A-5773EB43FEF5}" srcOrd="0" destOrd="0" presId="urn:microsoft.com/office/officeart/2005/8/layout/process2"/>
    <dgm:cxn modelId="{950F1EC1-88E7-425B-8006-D15252F55268}" type="presParOf" srcId="{69AF511C-C47F-42CA-B8C2-62DCF671C20B}" destId="{331DFB35-0C1B-4D48-8EAB-7A49A0735D2A}" srcOrd="1" destOrd="0" presId="urn:microsoft.com/office/officeart/2005/8/layout/process2"/>
    <dgm:cxn modelId="{C1BE8B1D-BACE-4158-BB2F-B81529CA09A1}" type="presParOf" srcId="{331DFB35-0C1B-4D48-8EAB-7A49A0735D2A}" destId="{165CDF6F-ADBB-4090-8EBA-40FA04B95EE3}" srcOrd="0" destOrd="0" presId="urn:microsoft.com/office/officeart/2005/8/layout/process2"/>
    <dgm:cxn modelId="{F25517D9-3485-4AF7-930C-20B782A49055}" type="presParOf" srcId="{69AF511C-C47F-42CA-B8C2-62DCF671C20B}" destId="{1F537148-D4AA-4609-AEB4-DE47634AF759}" srcOrd="2" destOrd="0" presId="urn:microsoft.com/office/officeart/2005/8/layout/process2"/>
    <dgm:cxn modelId="{8A834DD5-8BE2-4168-A7DD-531797F61FCB}" type="presParOf" srcId="{69AF511C-C47F-42CA-B8C2-62DCF671C20B}" destId="{331CC8B5-1047-4DAD-9C9E-FB8B40AFEB03}" srcOrd="3" destOrd="0" presId="urn:microsoft.com/office/officeart/2005/8/layout/process2"/>
    <dgm:cxn modelId="{857CBDCC-CD50-4707-8D81-9D9B8F990A85}" type="presParOf" srcId="{331CC8B5-1047-4DAD-9C9E-FB8B40AFEB03}" destId="{27303E5E-BBB9-42A5-9073-BD2F95556769}" srcOrd="0" destOrd="0" presId="urn:microsoft.com/office/officeart/2005/8/layout/process2"/>
    <dgm:cxn modelId="{604D802F-E778-4185-9D32-BFE3C7D8A3FF}" type="presParOf" srcId="{69AF511C-C47F-42CA-B8C2-62DCF671C20B}" destId="{66CFC4B1-60E1-4071-99D7-41188058DF13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1611072" y="0"/>
          <a:ext cx="1611073" cy="1557188"/>
        </a:xfrm>
        <a:prstGeom prst="trapezoid">
          <a:avLst>
            <a:gd name="adj" fmla="val 51730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611072" y="0"/>
        <a:ext cx="1611073" cy="1557188"/>
      </dsp:txXfrm>
    </dsp:sp>
    <dsp:sp modelId="{36DE7232-AC3E-478D-A42B-D2D23C532C73}">
      <dsp:nvSpPr>
        <dsp:cNvPr id="0" name=""/>
        <dsp:cNvSpPr/>
      </dsp:nvSpPr>
      <dsp:spPr>
        <a:xfrm>
          <a:off x="805536" y="1557188"/>
          <a:ext cx="3222146" cy="1557188"/>
        </a:xfrm>
        <a:prstGeom prst="trapezoid">
          <a:avLst>
            <a:gd name="adj" fmla="val 5173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369412" y="1557188"/>
        <a:ext cx="2094394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4833219" cy="1557188"/>
        </a:xfrm>
        <a:prstGeom prst="trapezoid">
          <a:avLst>
            <a:gd name="adj" fmla="val 51730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845813" y="3114376"/>
        <a:ext cx="3141592" cy="15571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1611072" y="0"/>
          <a:ext cx="1611073" cy="1557188"/>
        </a:xfrm>
        <a:prstGeom prst="trapezoid">
          <a:avLst>
            <a:gd name="adj" fmla="val 51730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611072" y="0"/>
        <a:ext cx="1611073" cy="1557188"/>
      </dsp:txXfrm>
    </dsp:sp>
    <dsp:sp modelId="{36DE7232-AC3E-478D-A42B-D2D23C532C73}">
      <dsp:nvSpPr>
        <dsp:cNvPr id="0" name=""/>
        <dsp:cNvSpPr/>
      </dsp:nvSpPr>
      <dsp:spPr>
        <a:xfrm>
          <a:off x="805536" y="1557188"/>
          <a:ext cx="3222146" cy="1557188"/>
        </a:xfrm>
        <a:prstGeom prst="trapezoid">
          <a:avLst>
            <a:gd name="adj" fmla="val 5173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369412" y="1557188"/>
        <a:ext cx="2094394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4833219" cy="1557188"/>
        </a:xfrm>
        <a:prstGeom prst="trapezoid">
          <a:avLst>
            <a:gd name="adj" fmla="val 51730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845813" y="3114376"/>
        <a:ext cx="3141592" cy="155718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1611072" y="0"/>
          <a:ext cx="1611073" cy="1557188"/>
        </a:xfrm>
        <a:prstGeom prst="trapezoid">
          <a:avLst>
            <a:gd name="adj" fmla="val 51730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611072" y="0"/>
        <a:ext cx="1611073" cy="1557188"/>
      </dsp:txXfrm>
    </dsp:sp>
    <dsp:sp modelId="{36DE7232-AC3E-478D-A42B-D2D23C532C73}">
      <dsp:nvSpPr>
        <dsp:cNvPr id="0" name=""/>
        <dsp:cNvSpPr/>
      </dsp:nvSpPr>
      <dsp:spPr>
        <a:xfrm>
          <a:off x="805536" y="1557188"/>
          <a:ext cx="3222146" cy="1557188"/>
        </a:xfrm>
        <a:prstGeom prst="trapezoid">
          <a:avLst>
            <a:gd name="adj" fmla="val 5173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369412" y="1557188"/>
        <a:ext cx="2094394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4833219" cy="1557188"/>
        </a:xfrm>
        <a:prstGeom prst="trapezoid">
          <a:avLst>
            <a:gd name="adj" fmla="val 51730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845813" y="3114376"/>
        <a:ext cx="3141592" cy="155718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C1C078-C725-4ABC-9144-4C7FEF361092}">
      <dsp:nvSpPr>
        <dsp:cNvPr id="0" name=""/>
        <dsp:cNvSpPr/>
      </dsp:nvSpPr>
      <dsp:spPr>
        <a:xfrm>
          <a:off x="1611072" y="0"/>
          <a:ext cx="1611073" cy="1557188"/>
        </a:xfrm>
        <a:prstGeom prst="trapezoid">
          <a:avLst>
            <a:gd name="adj" fmla="val 51730"/>
          </a:avLst>
        </a:prstGeom>
        <a:solidFill>
          <a:schemeClr val="accent6">
            <a:lumMod val="10000"/>
            <a:lumOff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 dirty="0"/>
        </a:p>
      </dsp:txBody>
      <dsp:txXfrm>
        <a:off x="1611072" y="0"/>
        <a:ext cx="1611073" cy="1557188"/>
      </dsp:txXfrm>
    </dsp:sp>
    <dsp:sp modelId="{36DE7232-AC3E-478D-A42B-D2D23C532C73}">
      <dsp:nvSpPr>
        <dsp:cNvPr id="0" name=""/>
        <dsp:cNvSpPr/>
      </dsp:nvSpPr>
      <dsp:spPr>
        <a:xfrm>
          <a:off x="805536" y="1557188"/>
          <a:ext cx="3222146" cy="1557188"/>
        </a:xfrm>
        <a:prstGeom prst="trapezoid">
          <a:avLst>
            <a:gd name="adj" fmla="val 51730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1369412" y="1557188"/>
        <a:ext cx="2094394" cy="1557188"/>
      </dsp:txXfrm>
    </dsp:sp>
    <dsp:sp modelId="{6DD9AFD6-85A3-4176-A6EC-F797AA86814C}">
      <dsp:nvSpPr>
        <dsp:cNvPr id="0" name=""/>
        <dsp:cNvSpPr/>
      </dsp:nvSpPr>
      <dsp:spPr>
        <a:xfrm>
          <a:off x="0" y="3114376"/>
          <a:ext cx="4833219" cy="1557188"/>
        </a:xfrm>
        <a:prstGeom prst="trapezoid">
          <a:avLst>
            <a:gd name="adj" fmla="val 51730"/>
          </a:avLst>
        </a:prstGeom>
        <a:solidFill>
          <a:schemeClr val="tx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IN" sz="1600" b="1" kern="1200"/>
        </a:p>
      </dsp:txBody>
      <dsp:txXfrm>
        <a:off x="845813" y="3114376"/>
        <a:ext cx="3141592" cy="155718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668E2A-B1E6-40DB-B56A-5773EB43FEF5}">
      <dsp:nvSpPr>
        <dsp:cNvPr id="0" name=""/>
        <dsp:cNvSpPr/>
      </dsp:nvSpPr>
      <dsp:spPr>
        <a:xfrm>
          <a:off x="402148" y="546"/>
          <a:ext cx="1150179" cy="638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Baselining</a:t>
          </a:r>
        </a:p>
      </dsp:txBody>
      <dsp:txXfrm>
        <a:off x="420863" y="19261"/>
        <a:ext cx="1112749" cy="601558"/>
      </dsp:txXfrm>
    </dsp:sp>
    <dsp:sp modelId="{331DFB35-0C1B-4D48-8EAB-7A49A0735D2A}">
      <dsp:nvSpPr>
        <dsp:cNvPr id="0" name=""/>
        <dsp:cNvSpPr/>
      </dsp:nvSpPr>
      <dsp:spPr>
        <a:xfrm rot="5400000">
          <a:off x="857428" y="655509"/>
          <a:ext cx="239620" cy="2875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-5400000">
        <a:off x="890975" y="679471"/>
        <a:ext cx="172526" cy="167734"/>
      </dsp:txXfrm>
    </dsp:sp>
    <dsp:sp modelId="{1F537148-D4AA-4609-AEB4-DE47634AF759}">
      <dsp:nvSpPr>
        <dsp:cNvPr id="0" name=""/>
        <dsp:cNvSpPr/>
      </dsp:nvSpPr>
      <dsp:spPr>
        <a:xfrm>
          <a:off x="402148" y="959028"/>
          <a:ext cx="1150179" cy="638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Gap Analysis</a:t>
          </a:r>
        </a:p>
      </dsp:txBody>
      <dsp:txXfrm>
        <a:off x="420863" y="977743"/>
        <a:ext cx="1112749" cy="601558"/>
      </dsp:txXfrm>
    </dsp:sp>
    <dsp:sp modelId="{331CC8B5-1047-4DAD-9C9E-FB8B40AFEB03}">
      <dsp:nvSpPr>
        <dsp:cNvPr id="0" name=""/>
        <dsp:cNvSpPr/>
      </dsp:nvSpPr>
      <dsp:spPr>
        <a:xfrm rot="5400000">
          <a:off x="857428" y="1613991"/>
          <a:ext cx="239620" cy="2875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-5400000">
        <a:off x="890975" y="1637953"/>
        <a:ext cx="172526" cy="167734"/>
      </dsp:txXfrm>
    </dsp:sp>
    <dsp:sp modelId="{66CFC4B1-60E1-4071-99D7-41188058DF13}">
      <dsp:nvSpPr>
        <dsp:cNvPr id="0" name=""/>
        <dsp:cNvSpPr/>
      </dsp:nvSpPr>
      <dsp:spPr>
        <a:xfrm>
          <a:off x="402148" y="1917511"/>
          <a:ext cx="1150179" cy="638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Market Analysis</a:t>
          </a:r>
        </a:p>
      </dsp:txBody>
      <dsp:txXfrm>
        <a:off x="420863" y="1936226"/>
        <a:ext cx="1112749" cy="601558"/>
      </dsp:txXfrm>
    </dsp:sp>
    <dsp:sp modelId="{CB29FFFB-CE22-4A3C-B9CA-4B35D0E48CAA}">
      <dsp:nvSpPr>
        <dsp:cNvPr id="0" name=""/>
        <dsp:cNvSpPr/>
      </dsp:nvSpPr>
      <dsp:spPr>
        <a:xfrm rot="5400000">
          <a:off x="857428" y="2572474"/>
          <a:ext cx="239620" cy="2875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-5400000">
        <a:off x="890975" y="2596436"/>
        <a:ext cx="172526" cy="167734"/>
      </dsp:txXfrm>
    </dsp:sp>
    <dsp:sp modelId="{78C120B1-57E5-41D7-AC8E-5EA8CAF50F49}">
      <dsp:nvSpPr>
        <dsp:cNvPr id="0" name=""/>
        <dsp:cNvSpPr/>
      </dsp:nvSpPr>
      <dsp:spPr>
        <a:xfrm>
          <a:off x="402148" y="2875993"/>
          <a:ext cx="1150179" cy="638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tions Assessment</a:t>
          </a:r>
        </a:p>
      </dsp:txBody>
      <dsp:txXfrm>
        <a:off x="420863" y="2894708"/>
        <a:ext cx="1112749" cy="601558"/>
      </dsp:txXfrm>
    </dsp:sp>
    <dsp:sp modelId="{F75E8DED-85EE-42E5-A401-D544EEF858E5}">
      <dsp:nvSpPr>
        <dsp:cNvPr id="0" name=""/>
        <dsp:cNvSpPr/>
      </dsp:nvSpPr>
      <dsp:spPr>
        <a:xfrm rot="5400000">
          <a:off x="857428" y="3530956"/>
          <a:ext cx="239620" cy="2875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/>
        </a:p>
      </dsp:txBody>
      <dsp:txXfrm rot="-5400000">
        <a:off x="890975" y="3554918"/>
        <a:ext cx="172526" cy="167734"/>
      </dsp:txXfrm>
    </dsp:sp>
    <dsp:sp modelId="{E47772D9-C9CD-4366-82C4-331B0D0CAD76}">
      <dsp:nvSpPr>
        <dsp:cNvPr id="0" name=""/>
        <dsp:cNvSpPr/>
      </dsp:nvSpPr>
      <dsp:spPr>
        <a:xfrm>
          <a:off x="402148" y="3834476"/>
          <a:ext cx="1150179" cy="638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Implementation of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Decarbonization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ptions</a:t>
          </a:r>
        </a:p>
      </dsp:txBody>
      <dsp:txXfrm>
        <a:off x="420863" y="3853191"/>
        <a:ext cx="1112749" cy="60155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668E2A-B1E6-40DB-B56A-5773EB43FEF5}">
      <dsp:nvSpPr>
        <dsp:cNvPr id="0" name=""/>
        <dsp:cNvSpPr/>
      </dsp:nvSpPr>
      <dsp:spPr>
        <a:xfrm>
          <a:off x="573866" y="0"/>
          <a:ext cx="1102936" cy="6127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3-tier Vessel Vetting process</a:t>
          </a:r>
        </a:p>
      </dsp:txBody>
      <dsp:txXfrm>
        <a:off x="591813" y="17947"/>
        <a:ext cx="1067042" cy="576848"/>
      </dsp:txXfrm>
    </dsp:sp>
    <dsp:sp modelId="{331DFB35-0C1B-4D48-8EAB-7A49A0735D2A}">
      <dsp:nvSpPr>
        <dsp:cNvPr id="0" name=""/>
        <dsp:cNvSpPr/>
      </dsp:nvSpPr>
      <dsp:spPr>
        <a:xfrm rot="5400000">
          <a:off x="1010445" y="628060"/>
          <a:ext cx="229778" cy="2757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1042615" y="651038"/>
        <a:ext cx="165440" cy="160845"/>
      </dsp:txXfrm>
    </dsp:sp>
    <dsp:sp modelId="{1F537148-D4AA-4609-AEB4-DE47634AF759}">
      <dsp:nvSpPr>
        <dsp:cNvPr id="0" name=""/>
        <dsp:cNvSpPr/>
      </dsp:nvSpPr>
      <dsp:spPr>
        <a:xfrm>
          <a:off x="573866" y="919113"/>
          <a:ext cx="1102936" cy="6127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scalation Mechanism</a:t>
          </a:r>
        </a:p>
      </dsp:txBody>
      <dsp:txXfrm>
        <a:off x="591813" y="937060"/>
        <a:ext cx="1067042" cy="576848"/>
      </dsp:txXfrm>
    </dsp:sp>
    <dsp:sp modelId="{331CC8B5-1047-4DAD-9C9E-FB8B40AFEB03}">
      <dsp:nvSpPr>
        <dsp:cNvPr id="0" name=""/>
        <dsp:cNvSpPr/>
      </dsp:nvSpPr>
      <dsp:spPr>
        <a:xfrm rot="5400000">
          <a:off x="1010445" y="1547174"/>
          <a:ext cx="229778" cy="27573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/>
        </a:p>
      </dsp:txBody>
      <dsp:txXfrm rot="-5400000">
        <a:off x="1042615" y="1570152"/>
        <a:ext cx="165440" cy="160845"/>
      </dsp:txXfrm>
    </dsp:sp>
    <dsp:sp modelId="{66CFC4B1-60E1-4071-99D7-41188058DF13}">
      <dsp:nvSpPr>
        <dsp:cNvPr id="0" name=""/>
        <dsp:cNvSpPr/>
      </dsp:nvSpPr>
      <dsp:spPr>
        <a:xfrm>
          <a:off x="573866" y="1838226"/>
          <a:ext cx="1102936" cy="61274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nsurance Coverage</a:t>
          </a:r>
        </a:p>
      </dsp:txBody>
      <dsp:txXfrm>
        <a:off x="591813" y="1856173"/>
        <a:ext cx="1067042" cy="5768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2">
            <a:extLst>
              <a:ext uri="{FF2B5EF4-FFF2-40B4-BE49-F238E27FC236}">
                <a16:creationId xmlns:a16="http://schemas.microsoft.com/office/drawing/2014/main" id="{DC190727-F4B7-4342-8DE0-CB04AAB5CF9E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499" name="Rectangle 3">
            <a:extLst>
              <a:ext uri="{FF2B5EF4-FFF2-40B4-BE49-F238E27FC236}">
                <a16:creationId xmlns:a16="http://schemas.microsoft.com/office/drawing/2014/main" id="{92572357-2956-41D6-8E34-27B1458FD116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25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500" name="Rectangle 4">
            <a:extLst>
              <a:ext uri="{FF2B5EF4-FFF2-40B4-BE49-F238E27FC236}">
                <a16:creationId xmlns:a16="http://schemas.microsoft.com/office/drawing/2014/main" id="{BCBC9CE7-A5EC-4D20-A6F6-C2FB18D8EC7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34501" name="Rectangle 5">
            <a:extLst>
              <a:ext uri="{FF2B5EF4-FFF2-40B4-BE49-F238E27FC236}">
                <a16:creationId xmlns:a16="http://schemas.microsoft.com/office/drawing/2014/main" id="{54914D97-5703-4874-8467-AC2DAFC2DAC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25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55D06BD-037B-417A-A897-B452D2972C6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1784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BADE87A3-51FD-4E17-BB0A-489A407E7A4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D03E9720-680B-4D83-9B0F-E532B356BA10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5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9332" name="Rectangle 4">
            <a:extLst>
              <a:ext uri="{FF2B5EF4-FFF2-40B4-BE49-F238E27FC236}">
                <a16:creationId xmlns:a16="http://schemas.microsoft.com/office/drawing/2014/main" id="{6CDAB5D0-77F1-4B39-BEC8-C3CA9BBD67C2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8500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58E740A5-96CD-40C5-9B1C-62FFAD6AFB8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414838"/>
            <a:ext cx="5607050" cy="418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/>
              <a:t>Klik om de opmaakprofielen van de modeltekst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1B4A7CCC-0F28-46BA-94D1-378F96761541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3038475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DA6FD6F3-CE3E-4179-9274-C09A7A7630E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5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3" tIns="47381" rIns="94763" bIns="473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B9F9CB1-700B-4B7F-B87E-2029A37096D1}" type="slidenum">
              <a:rPr lang="nl-NL"/>
              <a:pPr>
                <a:defRPr/>
              </a:pPr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34317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92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70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9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28" algn="l" defTabSz="91435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8.xml"/><Relationship Id="rId4" Type="http://schemas.openxmlformats.org/officeDocument/2006/relationships/tags" Target="../tags/tag5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>
            <a:extLst>
              <a:ext uri="{FF2B5EF4-FFF2-40B4-BE49-F238E27FC236}">
                <a16:creationId xmlns:a16="http://schemas.microsoft.com/office/drawing/2014/main" id="{12D7D67C-DABC-45B0-8468-F1E5601A4B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407988"/>
            <a:ext cx="9147175" cy="156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4814" y="2374900"/>
            <a:ext cx="8332787" cy="1144588"/>
          </a:xfrm>
        </p:spPr>
        <p:txBody>
          <a:bodyPr bIns="45718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4814" y="6191251"/>
            <a:ext cx="8332787" cy="417513"/>
          </a:xfrm>
        </p:spPr>
        <p:txBody>
          <a:bodyPr tIns="45718" rIns="91435" bIns="45718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69794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3258000" y="2088000"/>
            <a:ext cx="26352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61020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032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58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6102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CE9C0C0-AED5-41D3-A194-B24817DA5097}"/>
              </a:ext>
            </a:extLst>
          </p:cNvPr>
          <p:cNvSpPr>
            <a:spLocks noGrp="1" noChangeArrowheads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66D461-38F3-4EDD-8DA0-6F64C95F3A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93AF5B2F-8CF9-4E5B-A3D5-DF2C7B4BBEA7}"/>
              </a:ext>
            </a:extLst>
          </p:cNvPr>
          <p:cNvSpPr>
            <a:spLocks noGrp="1" noChangeArrowheads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416536027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>
            <a:extLst>
              <a:ext uri="{FF2B5EF4-FFF2-40B4-BE49-F238E27FC236}">
                <a16:creationId xmlns:a16="http://schemas.microsoft.com/office/drawing/2014/main" id="{27E9C66D-433E-4AEF-A775-B4086C82CE3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4013" y="1562100"/>
            <a:ext cx="1506537" cy="4762500"/>
            <a:chOff x="404813" y="1566716"/>
            <a:chExt cx="1719262" cy="477479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BA9146F-A25C-422F-AB0A-4ACBD0274F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769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FFFFFF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CF7DA3B-E609-4317-9F84-7C1AB28F88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2836812"/>
              <a:ext cx="1719262" cy="96610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760">
                <a:defRPr/>
              </a:pPr>
              <a:r>
                <a:rPr lang="en-GB" sz="1500" b="1" dirty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Tex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9D2D2E8-57C8-4024-B254-557589DB7D8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4105316"/>
              <a:ext cx="1719262" cy="9661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BAE7507-5B9A-46CC-AA55-CD89058E638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5373820"/>
              <a:ext cx="1719262" cy="96769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</p:grpSp>
      <p:sp>
        <p:nvSpPr>
          <p:cNvPr id="9" name="AutoShape 9">
            <a:extLst>
              <a:ext uri="{FF2B5EF4-FFF2-40B4-BE49-F238E27FC236}">
                <a16:creationId xmlns:a16="http://schemas.microsoft.com/office/drawing/2014/main" id="{764AAF9D-3A4B-4242-A73D-067EE324D94C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2499519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AutoShape 9">
            <a:extLst>
              <a:ext uri="{FF2B5EF4-FFF2-40B4-BE49-F238E27FC236}">
                <a16:creationId xmlns:a16="http://schemas.microsoft.com/office/drawing/2014/main" id="{0C70E87D-20F2-45A1-ADE0-7925F2639055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6788" y="3805238"/>
            <a:ext cx="309562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AutoShape 9">
            <a:extLst>
              <a:ext uri="{FF2B5EF4-FFF2-40B4-BE49-F238E27FC236}">
                <a16:creationId xmlns:a16="http://schemas.microsoft.com/office/drawing/2014/main" id="{688C76BD-B1FA-48D5-8FEC-2319997FCF6A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5056982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1A286E-9BB0-4519-ADA4-5309A22E30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152241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E62B58-0F2A-4F2C-A2EA-934ABD0B1C8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277336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2534D19-5687-42B5-BBB4-FB0F2B7D822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5278438"/>
            <a:ext cx="681513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A15728-D1FF-4474-AD1C-59F7A07A3B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4022725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1AA35307-425E-494B-AA92-51DB17A8F3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4F0BC-E664-41DC-85AA-5273A72D737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EB7E0E24-ADFB-4EF8-A7B0-FFAB839E1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073244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B6BE9DD-792D-42CF-A303-B01CC62C99FE}"/>
              </a:ext>
            </a:extLst>
          </p:cNvPr>
          <p:cNvGraphicFramePr>
            <a:graphicFrameLocks noGrp="1"/>
          </p:cNvGraphicFramePr>
          <p:nvPr/>
        </p:nvGraphicFramePr>
        <p:xfrm>
          <a:off x="327025" y="1363663"/>
          <a:ext cx="8320088" cy="5184775"/>
        </p:xfrm>
        <a:graphic>
          <a:graphicData uri="http://schemas.openxmlformats.org/drawingml/2006/table">
            <a:tbl>
              <a:tblPr firstRow="1"/>
              <a:tblGrid>
                <a:gridCol w="313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9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9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8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EB59047C-3C55-4094-81F2-DF747ABFF9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D8EBE-12F1-484F-8CAF-FE2BD6B4E4E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27DFB60B-3ED3-4D05-8562-270F383A00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6105401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89B1999-F5C4-456F-8ED2-63226AAAC67E}"/>
              </a:ext>
            </a:extLst>
          </p:cNvPr>
          <p:cNvSpPr/>
          <p:nvPr userDrawn="1"/>
        </p:nvSpPr>
        <p:spPr>
          <a:xfrm>
            <a:off x="1414463" y="2701925"/>
            <a:ext cx="1057275" cy="5445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EF1409-5DB0-4882-8BB7-D0CB1EF0859C}"/>
              </a:ext>
            </a:extLst>
          </p:cNvPr>
          <p:cNvSpPr/>
          <p:nvPr userDrawn="1"/>
        </p:nvSpPr>
        <p:spPr>
          <a:xfrm>
            <a:off x="2435225" y="3336925"/>
            <a:ext cx="1055688" cy="8080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B08D2-840A-4004-81FE-DE53F2B9287C}"/>
              </a:ext>
            </a:extLst>
          </p:cNvPr>
          <p:cNvSpPr/>
          <p:nvPr userDrawn="1"/>
        </p:nvSpPr>
        <p:spPr>
          <a:xfrm>
            <a:off x="3459163" y="4354513"/>
            <a:ext cx="1057275" cy="2019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9A64D6-4A15-4209-868D-A885017859D6}"/>
              </a:ext>
            </a:extLst>
          </p:cNvPr>
          <p:cNvSpPr/>
          <p:nvPr userDrawn="1"/>
        </p:nvSpPr>
        <p:spPr>
          <a:xfrm>
            <a:off x="393700" y="1492250"/>
            <a:ext cx="8416925" cy="30956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Bent-Up Arrow 20">
            <a:extLst>
              <a:ext uri="{FF2B5EF4-FFF2-40B4-BE49-F238E27FC236}">
                <a16:creationId xmlns:a16="http://schemas.microsoft.com/office/drawing/2014/main" id="{7D0AD286-3080-4A5D-A2A8-85A09BA8CF3F}"/>
              </a:ext>
            </a:extLst>
          </p:cNvPr>
          <p:cNvSpPr/>
          <p:nvPr userDrawn="1"/>
        </p:nvSpPr>
        <p:spPr>
          <a:xfrm rot="5400000">
            <a:off x="2397125" y="4189413"/>
            <a:ext cx="1100137" cy="102393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47D374-B6FF-4CB6-B7B4-3B06F0CAFF79}"/>
              </a:ext>
            </a:extLst>
          </p:cNvPr>
          <p:cNvSpPr/>
          <p:nvPr userDrawn="1"/>
        </p:nvSpPr>
        <p:spPr>
          <a:xfrm>
            <a:off x="1455738" y="1951038"/>
            <a:ext cx="7300912" cy="5794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AB869B-3880-4A98-86B2-AC0C2177797D}"/>
              </a:ext>
            </a:extLst>
          </p:cNvPr>
          <p:cNvSpPr/>
          <p:nvPr userDrawn="1"/>
        </p:nvSpPr>
        <p:spPr>
          <a:xfrm>
            <a:off x="2439988" y="2701925"/>
            <a:ext cx="6316662" cy="5461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51A6DD-1AE6-4A6A-8D4B-EC4F4A4743B1}"/>
              </a:ext>
            </a:extLst>
          </p:cNvPr>
          <p:cNvSpPr/>
          <p:nvPr userDrawn="1"/>
        </p:nvSpPr>
        <p:spPr>
          <a:xfrm>
            <a:off x="3500438" y="3336925"/>
            <a:ext cx="5256212" cy="808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CA6146-7EA5-438B-900F-9A553DF9D028}"/>
              </a:ext>
            </a:extLst>
          </p:cNvPr>
          <p:cNvSpPr/>
          <p:nvPr userDrawn="1"/>
        </p:nvSpPr>
        <p:spPr>
          <a:xfrm>
            <a:off x="4546600" y="4354513"/>
            <a:ext cx="4210050" cy="20193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3" name="Bent-Up Arrow 25">
            <a:extLst>
              <a:ext uri="{FF2B5EF4-FFF2-40B4-BE49-F238E27FC236}">
                <a16:creationId xmlns:a16="http://schemas.microsoft.com/office/drawing/2014/main" id="{7336DCE4-5E6A-41D0-88AE-F47342EA88AB}"/>
              </a:ext>
            </a:extLst>
          </p:cNvPr>
          <p:cNvSpPr/>
          <p:nvPr userDrawn="1"/>
        </p:nvSpPr>
        <p:spPr>
          <a:xfrm rot="5400000">
            <a:off x="1473994" y="3190082"/>
            <a:ext cx="901700" cy="1020762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14" name="Bent-Up Arrow 26">
            <a:extLst>
              <a:ext uri="{FF2B5EF4-FFF2-40B4-BE49-F238E27FC236}">
                <a16:creationId xmlns:a16="http://schemas.microsoft.com/office/drawing/2014/main" id="{85075626-87A8-4806-80D8-2561BF4F0BE2}"/>
              </a:ext>
            </a:extLst>
          </p:cNvPr>
          <p:cNvSpPr/>
          <p:nvPr userDrawn="1"/>
        </p:nvSpPr>
        <p:spPr>
          <a:xfrm rot="5400000">
            <a:off x="545307" y="2377281"/>
            <a:ext cx="717550" cy="1020763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C397C0-8A80-4AA8-85EC-A619218940E6}"/>
              </a:ext>
            </a:extLst>
          </p:cNvPr>
          <p:cNvSpPr/>
          <p:nvPr userDrawn="1"/>
        </p:nvSpPr>
        <p:spPr>
          <a:xfrm>
            <a:off x="393700" y="1951038"/>
            <a:ext cx="1057275" cy="5778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26CB56F0-B943-4F60-849B-06BB8CC61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6F298-6C78-4B3D-90A6-BDE06160C7D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2D527F4A-0EF3-4BD3-BA56-C084BE330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91976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24F6FBE-0C16-489E-8940-A5185E129461}"/>
              </a:ext>
            </a:extLst>
          </p:cNvPr>
          <p:cNvGraphicFramePr>
            <a:graphicFrameLocks noGrp="1"/>
          </p:cNvGraphicFramePr>
          <p:nvPr/>
        </p:nvGraphicFramePr>
        <p:xfrm>
          <a:off x="209550" y="1349375"/>
          <a:ext cx="8783638" cy="5062538"/>
        </p:xfrm>
        <a:graphic>
          <a:graphicData uri="http://schemas.openxmlformats.org/drawingml/2006/table">
            <a:tbl>
              <a:tblPr firstRow="1"/>
              <a:tblGrid>
                <a:gridCol w="2650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3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65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Up Arrow 5">
            <a:extLst>
              <a:ext uri="{FF2B5EF4-FFF2-40B4-BE49-F238E27FC236}">
                <a16:creationId xmlns:a16="http://schemas.microsoft.com/office/drawing/2014/main" id="{627FC4AA-155B-40A9-A8E9-EECD2F3F0A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1879600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6" name="Up Arrow 6">
            <a:extLst>
              <a:ext uri="{FF2B5EF4-FFF2-40B4-BE49-F238E27FC236}">
                <a16:creationId xmlns:a16="http://schemas.microsoft.com/office/drawing/2014/main" id="{025BB4EC-0D6F-4F5D-9979-101FA867B7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2833688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7" name="Up Arrow 7">
            <a:extLst>
              <a:ext uri="{FF2B5EF4-FFF2-40B4-BE49-F238E27FC236}">
                <a16:creationId xmlns:a16="http://schemas.microsoft.com/office/drawing/2014/main" id="{610E780D-003D-4CF4-9098-AF83D0764A22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4816475" y="2384425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EB5335"/>
          </a:solidFill>
          <a:ln w="19050" algn="ctr">
            <a:solidFill>
              <a:srgbClr val="EB5335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56D0FAC-32C1-47A8-815D-78DC5C39B9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39267-72F4-42A3-B912-B5616065F8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C491A868-FD65-4266-84DC-5FD4FF247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470995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9D8600B-0CE0-4107-9CAB-902272FFABEA}"/>
              </a:ext>
            </a:extLst>
          </p:cNvPr>
          <p:cNvSpPr/>
          <p:nvPr userDrawn="1"/>
        </p:nvSpPr>
        <p:spPr>
          <a:xfrm>
            <a:off x="469900" y="1139825"/>
            <a:ext cx="8499475" cy="5127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624A3CF2-A5B4-420E-8D97-F2116F558DFA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7800" y="1155700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BD1D5E-E836-4E40-90A7-936C0E6FB35D}"/>
              </a:ext>
            </a:extLst>
          </p:cNvPr>
          <p:cNvSpPr/>
          <p:nvPr userDrawn="1"/>
        </p:nvSpPr>
        <p:spPr>
          <a:xfrm>
            <a:off x="469900" y="2005013"/>
            <a:ext cx="84994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C89F150D-B7EE-4BEB-BEEC-B28304A07FA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79388" y="2070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173346-E968-4724-97C8-802F61BA3F3C}"/>
              </a:ext>
            </a:extLst>
          </p:cNvPr>
          <p:cNvSpPr/>
          <p:nvPr userDrawn="1"/>
        </p:nvSpPr>
        <p:spPr>
          <a:xfrm>
            <a:off x="469900" y="2914650"/>
            <a:ext cx="8499475" cy="571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35F6E809-C012-4EA2-BC2B-66387162E460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71450" y="297021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F1D7A4-CA21-4F4A-BA0A-8506E30D3336}"/>
              </a:ext>
            </a:extLst>
          </p:cNvPr>
          <p:cNvSpPr/>
          <p:nvPr userDrawn="1"/>
        </p:nvSpPr>
        <p:spPr>
          <a:xfrm>
            <a:off x="469900" y="3838575"/>
            <a:ext cx="8499475" cy="544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1915C8A2-8BC3-40B4-874F-CA454472977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85738" y="3875088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180E588-A82B-4F28-9EE2-EE003A5B1660}"/>
              </a:ext>
            </a:extLst>
          </p:cNvPr>
          <p:cNvSpPr/>
          <p:nvPr userDrawn="1"/>
        </p:nvSpPr>
        <p:spPr>
          <a:xfrm>
            <a:off x="469900" y="4735513"/>
            <a:ext cx="8499475" cy="49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55CE6C8C-CE2D-4811-AA88-31CF2F092AB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93675" y="4765675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EF49E1-C551-4308-809E-7F4C2734A22B}"/>
              </a:ext>
            </a:extLst>
          </p:cNvPr>
          <p:cNvSpPr/>
          <p:nvPr userDrawn="1"/>
        </p:nvSpPr>
        <p:spPr>
          <a:xfrm>
            <a:off x="469900" y="5521325"/>
            <a:ext cx="84994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Oval 263">
            <a:extLst>
              <a:ext uri="{FF2B5EF4-FFF2-40B4-BE49-F238E27FC236}">
                <a16:creationId xmlns:a16="http://schemas.microsoft.com/office/drawing/2014/main" id="{14A4640E-E03E-4BA3-84D3-66034B7C907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93675" y="55514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E499292-1AC0-4911-9BC2-8DB86F944D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4DF049-6957-4276-BDAC-7F6B476CC6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76F5C8D0-FBE3-4548-BAC5-A09D9B276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23750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F7B4EC-5866-4372-94EE-726E2DD28EA0}"/>
              </a:ext>
            </a:extLst>
          </p:cNvPr>
          <p:cNvSpPr/>
          <p:nvPr userDrawn="1"/>
        </p:nvSpPr>
        <p:spPr>
          <a:xfrm>
            <a:off x="604838" y="1658938"/>
            <a:ext cx="4594225" cy="6905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5" name="Oval 259">
            <a:extLst>
              <a:ext uri="{FF2B5EF4-FFF2-40B4-BE49-F238E27FC236}">
                <a16:creationId xmlns:a16="http://schemas.microsoft.com/office/drawing/2014/main" id="{2970A429-74EF-4286-BDB4-E734B9D883B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85763" y="17716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6E27F2-6DBD-470C-85BF-BB58F4C4EC22}"/>
              </a:ext>
            </a:extLst>
          </p:cNvPr>
          <p:cNvSpPr/>
          <p:nvPr userDrawn="1"/>
        </p:nvSpPr>
        <p:spPr>
          <a:xfrm>
            <a:off x="604838" y="2524125"/>
            <a:ext cx="4594225" cy="749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Oval 260">
            <a:extLst>
              <a:ext uri="{FF2B5EF4-FFF2-40B4-BE49-F238E27FC236}">
                <a16:creationId xmlns:a16="http://schemas.microsoft.com/office/drawing/2014/main" id="{D35498D1-B96F-4B41-B84E-B7DD847FCF4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85763" y="26733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0F46783-F332-48AF-B875-78C4769B8CB3}"/>
              </a:ext>
            </a:extLst>
          </p:cNvPr>
          <p:cNvSpPr/>
          <p:nvPr userDrawn="1"/>
        </p:nvSpPr>
        <p:spPr>
          <a:xfrm>
            <a:off x="604838" y="3433763"/>
            <a:ext cx="4594225" cy="768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9" name="Oval 261">
            <a:extLst>
              <a:ext uri="{FF2B5EF4-FFF2-40B4-BE49-F238E27FC236}">
                <a16:creationId xmlns:a16="http://schemas.microsoft.com/office/drawing/2014/main" id="{6CC5E746-5623-459C-8F80-8E424635916B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79413" y="35877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F111D2-47A9-4871-B752-9DC5B0D6CDE7}"/>
              </a:ext>
            </a:extLst>
          </p:cNvPr>
          <p:cNvSpPr/>
          <p:nvPr userDrawn="1"/>
        </p:nvSpPr>
        <p:spPr>
          <a:xfrm>
            <a:off x="604838" y="4357688"/>
            <a:ext cx="4594225" cy="7334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1" name="Oval 262">
            <a:extLst>
              <a:ext uri="{FF2B5EF4-FFF2-40B4-BE49-F238E27FC236}">
                <a16:creationId xmlns:a16="http://schemas.microsoft.com/office/drawing/2014/main" id="{C0166E50-569E-4E5E-846B-B52238F2360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392113" y="4492625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A43C1A-8374-4EC2-BA33-E596BAA2D6C3}"/>
              </a:ext>
            </a:extLst>
          </p:cNvPr>
          <p:cNvSpPr/>
          <p:nvPr userDrawn="1"/>
        </p:nvSpPr>
        <p:spPr>
          <a:xfrm>
            <a:off x="604838" y="5254625"/>
            <a:ext cx="4594225" cy="665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3" name="Oval 263">
            <a:extLst>
              <a:ext uri="{FF2B5EF4-FFF2-40B4-BE49-F238E27FC236}">
                <a16:creationId xmlns:a16="http://schemas.microsoft.com/office/drawing/2014/main" id="{FDC3E80A-3004-46C7-9988-5487246B872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63538" y="5341938"/>
            <a:ext cx="409575" cy="46513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2482AC8-38CC-46AE-9E6E-F7B7F65875A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1668463"/>
            <a:ext cx="1674813" cy="688975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E191E87-4433-471A-A096-5AC1AAADD4E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2533650"/>
            <a:ext cx="1674813" cy="74771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36438EA-DE51-455C-B3B9-24417724B7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3441700"/>
            <a:ext cx="1674813" cy="769938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86F36BD-C4A1-4463-A6BE-404BBCA546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4367213"/>
            <a:ext cx="1674813" cy="731837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4137BC5-6EFE-470D-82E9-DFCB984E28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5264150"/>
            <a:ext cx="1674813" cy="66516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158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952542E-C111-4872-BAA7-6BFA518E55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1668463"/>
            <a:ext cx="1674812" cy="688975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B8CA98-DCD4-435D-AC72-AE26B1833A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2533650"/>
            <a:ext cx="1674812" cy="74771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F0E6A77-5A2D-4C90-8CB0-234A6E1217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3441700"/>
            <a:ext cx="1674812" cy="769938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5FD60B-AACB-4135-9C71-1CFD9863B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4367213"/>
            <a:ext cx="1674812" cy="731837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8429D1-E463-4D00-A4AE-6C5DF86705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5264150"/>
            <a:ext cx="1674812" cy="66516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AFD1408-4CE1-480D-AC6E-240247E704C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56250" y="1306513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794347-59AA-4602-BB02-A72E1D6AA5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6950" y="1290638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ABC283D-D1B0-4960-983D-0EC28C6E2DB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838" y="1306513"/>
            <a:ext cx="1227137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9A8EB99E-03AC-4400-9BF3-FF689D00A1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0FEB8B-4E23-46CA-8E2B-66EB0AAD18D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0711A3A1-892D-49D8-8783-2D8DFC76F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95524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F68D35-2889-4FA0-84E7-CCD2261606D0}"/>
              </a:ext>
            </a:extLst>
          </p:cNvPr>
          <p:cNvGraphicFramePr>
            <a:graphicFrameLocks/>
          </p:cNvGraphicFramePr>
          <p:nvPr/>
        </p:nvGraphicFramePr>
        <p:xfrm>
          <a:off x="393700" y="1463675"/>
          <a:ext cx="8366125" cy="5183188"/>
        </p:xfrm>
        <a:graphic>
          <a:graphicData uri="http://schemas.openxmlformats.org/drawingml/2006/table">
            <a:tbl>
              <a:tblPr firstRow="1" bandRow="1"/>
              <a:tblGrid>
                <a:gridCol w="394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368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5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31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14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  <a:endParaRPr lang="en-IN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55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  <a:endParaRPr lang="en-IN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02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536E05F-B886-43F8-A5A6-6386B2526FB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5465CB-FC07-448A-AC02-C07E65F31AE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4BE1769-09DF-466E-A382-1E8DB3B29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2407138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CBDD61A-73D3-4C5A-A819-5D1C3E949B5A}"/>
              </a:ext>
            </a:extLst>
          </p:cNvPr>
          <p:cNvGraphicFramePr>
            <a:graphicFrameLocks noGrp="1"/>
          </p:cNvGraphicFramePr>
          <p:nvPr/>
        </p:nvGraphicFramePr>
        <p:xfrm>
          <a:off x="393700" y="1401763"/>
          <a:ext cx="8353425" cy="2347912"/>
        </p:xfrm>
        <a:graphic>
          <a:graphicData uri="http://schemas.openxmlformats.org/drawingml/2006/table">
            <a:tbl>
              <a:tblPr/>
              <a:tblGrid>
                <a:gridCol w="1517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8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15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49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26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329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7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5" name="Group 10">
            <a:extLst>
              <a:ext uri="{FF2B5EF4-FFF2-40B4-BE49-F238E27FC236}">
                <a16:creationId xmlns:a16="http://schemas.microsoft.com/office/drawing/2014/main" id="{BFE4A3C0-9CE1-4412-B5BD-5307F850004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98463" y="4192588"/>
            <a:ext cx="8361362" cy="2232025"/>
            <a:chOff x="123367" y="5147491"/>
            <a:chExt cx="8864071" cy="1583827"/>
          </a:xfrm>
        </p:grpSpPr>
        <p:sp>
          <p:nvSpPr>
            <p:cNvPr id="6" name="Tijdelijke aanduiding voor verticale tekst 24">
              <a:extLst>
                <a:ext uri="{FF2B5EF4-FFF2-40B4-BE49-F238E27FC236}">
                  <a16:creationId xmlns:a16="http://schemas.microsoft.com/office/drawing/2014/main" id="{F709B0C1-AC45-40B7-B6DD-9F416C1F4D29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405454"/>
              <a:ext cx="8864071" cy="1325864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50" lvl="1">
                <a:buFont typeface="Wingdings" pitchFamily="2" charset="2"/>
                <a:buChar char="§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Text</a:t>
              </a:r>
              <a:endParaRPr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7" name="Tijdelijke aanduiding voor verticale tekst 25">
              <a:extLst>
                <a:ext uri="{FF2B5EF4-FFF2-40B4-BE49-F238E27FC236}">
                  <a16:creationId xmlns:a16="http://schemas.microsoft.com/office/drawing/2014/main" id="{E1588B25-CD72-4B2D-BBC7-D2AFF6103D6E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147491"/>
              <a:ext cx="8864071" cy="257963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none" lIns="180000" tIns="72000" rIns="216000" anchor="ctr"/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2082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4C9700E-9C25-455D-AADA-66A8993D7C63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3859213"/>
          <a:ext cx="8382000" cy="219075"/>
        </p:xfrm>
        <a:graphic>
          <a:graphicData uri="http://schemas.openxmlformats.org/drawingml/2006/table">
            <a:tbl>
              <a:tblPr/>
              <a:tblGrid>
                <a:gridCol w="2095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55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1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94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8869" marR="8869" marT="965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FEC84390-122B-4630-ADE2-FFE5C2812F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761DFF-3896-48C9-9394-9981FDBBE32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0542F816-B8A6-4452-A23E-4DE9CF6D8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771913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4">
            <a:extLst>
              <a:ext uri="{FF2B5EF4-FFF2-40B4-BE49-F238E27FC236}">
                <a16:creationId xmlns:a16="http://schemas.microsoft.com/office/drawing/2014/main" id="{EB0D6F37-261D-4D3F-97CC-58BCA839EC59}"/>
              </a:ext>
            </a:extLst>
          </p:cNvPr>
          <p:cNvSpPr/>
          <p:nvPr userDrawn="1"/>
        </p:nvSpPr>
        <p:spPr bwMode="auto">
          <a:xfrm>
            <a:off x="4508500" y="1598613"/>
            <a:ext cx="4435475" cy="4967287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Pentagon 5">
            <a:extLst>
              <a:ext uri="{FF2B5EF4-FFF2-40B4-BE49-F238E27FC236}">
                <a16:creationId xmlns:a16="http://schemas.microsoft.com/office/drawing/2014/main" id="{9D90C9EA-C8C2-4625-9780-2D50B6BA4BBF}"/>
              </a:ext>
            </a:extLst>
          </p:cNvPr>
          <p:cNvSpPr/>
          <p:nvPr userDrawn="1"/>
        </p:nvSpPr>
        <p:spPr bwMode="auto">
          <a:xfrm>
            <a:off x="233363" y="1598613"/>
            <a:ext cx="4460875" cy="4967287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18419" y="1106955"/>
            <a:ext cx="872604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CEF5E28-636B-4F27-9F8F-F8434C454F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94455B-156C-48B8-A6C0-3B19DAB3559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949B773-2DDB-4E3D-9CB8-68CCD86F102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189316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76B48CA-F519-4F16-A191-4113B4691792}"/>
              </a:ext>
            </a:extLst>
          </p:cNvPr>
          <p:cNvGraphicFramePr/>
          <p:nvPr userDrawn="1"/>
        </p:nvGraphicFramePr>
        <p:xfrm>
          <a:off x="402863" y="1585246"/>
          <a:ext cx="4833219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926B4DA-A634-4687-866F-754DCF62BE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3194050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A4F800-4D64-4293-B2FF-687BD20EA61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566863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E5D9EA-7EBF-40E5-BFB8-5CB0D0DB02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4821238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FC36F177-090A-45AF-88B3-92A7F6DE96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02319-3319-4CB3-8E48-3565D21916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6201371-846F-4C3E-88CC-8676146B7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66796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403200" y="2448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403226" y="39132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403226" y="5382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403200" y="3553200"/>
            <a:ext cx="83344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403225" y="5022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F610EC8-FC8A-4887-950E-8A87F8236D48}"/>
              </a:ext>
            </a:extLst>
          </p:cNvPr>
          <p:cNvSpPr>
            <a:spLocks noGrp="1" noChangeArrowheads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789078-97F5-49D5-A441-1720F916182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F5D0D79E-B0BC-4C2F-B28E-14E9F5584089}"/>
              </a:ext>
            </a:extLst>
          </p:cNvPr>
          <p:cNvSpPr>
            <a:spLocks noGrp="1" noChangeArrowheads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202737846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969FE10-2EC0-4428-9A14-9355E1EDC0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1493838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94F520-4783-4723-B159-3A020D2393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24150" y="15033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395967F-A145-4DCC-9BEA-60B36C54F3B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41195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C440568-48AC-4284-83D4-27948AB6A360}"/>
              </a:ext>
            </a:extLst>
          </p:cNvPr>
          <p:cNvSpPr/>
          <p:nvPr userDrawn="1"/>
        </p:nvSpPr>
        <p:spPr>
          <a:xfrm rot="425343">
            <a:off x="2832100" y="4198938"/>
            <a:ext cx="2143125" cy="24415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95FB5D-C287-436B-A89D-905BECE545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482725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F4B4AA3-AF08-492B-9E5C-071EA14B56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0C7281-19F3-4105-9806-B886EAC24C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26A3F0EE-CC32-4748-93D8-640AC9E34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178154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20958A-DA8C-48A8-9ABC-274D9FFAC3CB}"/>
              </a:ext>
            </a:extLst>
          </p:cNvPr>
          <p:cNvSpPr/>
          <p:nvPr userDrawn="1"/>
        </p:nvSpPr>
        <p:spPr>
          <a:xfrm>
            <a:off x="134938" y="1646238"/>
            <a:ext cx="2843212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712D8D-2E94-4FC7-8EC7-928F65AF5B21}"/>
              </a:ext>
            </a:extLst>
          </p:cNvPr>
          <p:cNvCxnSpPr/>
          <p:nvPr userDrawn="1"/>
        </p:nvCxnSpPr>
        <p:spPr>
          <a:xfrm>
            <a:off x="3013075" y="16335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D7DCFF0-492A-485D-8D96-D94452C62C4D}"/>
              </a:ext>
            </a:extLst>
          </p:cNvPr>
          <p:cNvCxnSpPr/>
          <p:nvPr userDrawn="1"/>
        </p:nvCxnSpPr>
        <p:spPr>
          <a:xfrm>
            <a:off x="6059488" y="16462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626F67A-658F-434B-A61E-299A50852E83}"/>
              </a:ext>
            </a:extLst>
          </p:cNvPr>
          <p:cNvSpPr/>
          <p:nvPr userDrawn="1"/>
        </p:nvSpPr>
        <p:spPr>
          <a:xfrm>
            <a:off x="114300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42AFA4-F78C-4278-9738-B14564CC9DFF}"/>
              </a:ext>
            </a:extLst>
          </p:cNvPr>
          <p:cNvSpPr/>
          <p:nvPr userDrawn="1"/>
        </p:nvSpPr>
        <p:spPr>
          <a:xfrm>
            <a:off x="134938" y="3384550"/>
            <a:ext cx="8823325" cy="3603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buClr>
                <a:srgbClr val="3D7EDB"/>
              </a:buClr>
              <a:defRPr/>
            </a:pPr>
            <a:r>
              <a:rPr lang="en-GB" sz="15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0B7E4B-E9E5-405A-A2A3-0ADE2DAE3696}"/>
              </a:ext>
            </a:extLst>
          </p:cNvPr>
          <p:cNvSpPr/>
          <p:nvPr userDrawn="1"/>
        </p:nvSpPr>
        <p:spPr>
          <a:xfrm>
            <a:off x="123825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5EAE29A-016C-469C-A0DB-CEEC7A2656E4}"/>
              </a:ext>
            </a:extLst>
          </p:cNvPr>
          <p:cNvSpPr/>
          <p:nvPr userDrawn="1"/>
        </p:nvSpPr>
        <p:spPr>
          <a:xfrm>
            <a:off x="3074988" y="1646238"/>
            <a:ext cx="2954337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6440F1F-1059-49CD-A0B0-3C437A91807A}"/>
              </a:ext>
            </a:extLst>
          </p:cNvPr>
          <p:cNvSpPr/>
          <p:nvPr userDrawn="1"/>
        </p:nvSpPr>
        <p:spPr>
          <a:xfrm>
            <a:off x="3054350" y="3886200"/>
            <a:ext cx="2952750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C526EF-DA53-4C71-B152-349E87421266}"/>
              </a:ext>
            </a:extLst>
          </p:cNvPr>
          <p:cNvSpPr/>
          <p:nvPr userDrawn="1"/>
        </p:nvSpPr>
        <p:spPr>
          <a:xfrm>
            <a:off x="3062288" y="2073275"/>
            <a:ext cx="2954337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E75861-B35B-46BA-BD72-EEA92D952546}"/>
              </a:ext>
            </a:extLst>
          </p:cNvPr>
          <p:cNvSpPr/>
          <p:nvPr userDrawn="1"/>
        </p:nvSpPr>
        <p:spPr>
          <a:xfrm>
            <a:off x="6137275" y="1646238"/>
            <a:ext cx="2843213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2C9C08-4B3D-4583-BFE3-B9570FC06D6F}"/>
              </a:ext>
            </a:extLst>
          </p:cNvPr>
          <p:cNvSpPr/>
          <p:nvPr userDrawn="1"/>
        </p:nvSpPr>
        <p:spPr>
          <a:xfrm>
            <a:off x="6116638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E02D7B-BE6D-40B2-8BDB-2BA47C9EB927}"/>
              </a:ext>
            </a:extLst>
          </p:cNvPr>
          <p:cNvSpPr/>
          <p:nvPr userDrawn="1"/>
        </p:nvSpPr>
        <p:spPr>
          <a:xfrm>
            <a:off x="6126163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A6E0B487-CBC9-4B19-9DA3-E9A6AF6EF5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3F5986-1B1A-44B3-85D2-A82ACB5173B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AC8199E1-5A67-41D0-836D-2DCB783AD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639193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A909A2E-7B50-4B04-A305-087E36D62A3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28587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3DAB4C2-D953-41FF-8CB8-99D002AC937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922463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EF05CC4-C87E-42B0-AD85-C6E5E6B3DAC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2557463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BEB69CAC-BE02-4C9E-BA32-7D665756C86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830638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68380F0-FF0B-4396-B405-C188E4C7A4F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194050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DFEC8A25-DBCD-475A-B269-EFEE2C79E3A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4465638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A098D015-6CC5-4F61-BF15-77392A6A43E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510222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CCD26A7C-ACC2-4709-95DA-0DE2A48CE2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51BB5-E77D-45FA-989E-C5650BEF5B4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8A74A423-7BA2-420F-A428-E20C53512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7689999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FF226A56-E086-4E07-83E9-18E7E55D2D1B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433513" y="1435100"/>
            <a:ext cx="72342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83E7850-47A0-47B0-B743-E9AF627E6313}"/>
              </a:ext>
            </a:extLst>
          </p:cNvPr>
          <p:cNvSpPr/>
          <p:nvPr userDrawn="1"/>
        </p:nvSpPr>
        <p:spPr>
          <a:xfrm>
            <a:off x="711200" y="1373188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Content Placeholder 22">
            <a:extLst>
              <a:ext uri="{FF2B5EF4-FFF2-40B4-BE49-F238E27FC236}">
                <a16:creationId xmlns:a16="http://schemas.microsoft.com/office/drawing/2014/main" id="{5225E30D-8828-4A47-BC34-E69492E579A2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814513" y="2917825"/>
            <a:ext cx="68151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87C1DD1-29BA-4087-8233-288DA95F11EE}"/>
              </a:ext>
            </a:extLst>
          </p:cNvPr>
          <p:cNvSpPr/>
          <p:nvPr userDrawn="1"/>
        </p:nvSpPr>
        <p:spPr>
          <a:xfrm>
            <a:off x="1092200" y="285591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C4013DEC-2B2B-4DF2-BBC3-65F68C13B1E6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503363" y="4475163"/>
            <a:ext cx="713898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BEEAC03-AB24-4863-AD2D-FFA50E85A8C5}"/>
              </a:ext>
            </a:extLst>
          </p:cNvPr>
          <p:cNvSpPr/>
          <p:nvPr userDrawn="1"/>
        </p:nvSpPr>
        <p:spPr>
          <a:xfrm>
            <a:off x="781050" y="441166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D1EDBCC-FB28-4F65-AF2B-995A937EF4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D2D0D2-BA10-4803-AE3B-10C3A780AD5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9C4907C-134E-4E10-ADB2-4A6437843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240890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1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ijdelijke aanduiding voor dianummer 5">
            <a:extLst>
              <a:ext uri="{FF2B5EF4-FFF2-40B4-BE49-F238E27FC236}">
                <a16:creationId xmlns:a16="http://schemas.microsoft.com/office/drawing/2014/main" id="{75EC3D68-127D-4166-B9F7-9C5681C87B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063AB25B-3552-4756-A5F3-3AF865E40C7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122454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CD4B23-41DC-487F-857E-48FC7B1002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defTabSz="914228" eaLnBrk="1" hangingPunct="1">
              <a:defRPr sz="1200">
                <a:solidFill>
                  <a:prstClr val="black">
                    <a:tint val="75000"/>
                  </a:prst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56AB79-470E-4B22-8776-DE012482A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 sz="120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en-US"/>
              <a:t>GRR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AC404E-A7B0-481C-96FB-4E52B74977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61E05896-ECD8-406E-9AE5-218760CE02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82184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3D128387-9D7A-49DF-8106-8228F910B6E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18F4AB7-0638-4111-AAE1-89C7ECF4236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A39527B-664E-40F7-8002-9140B2BED60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A5DEF6-F302-4EDC-AC42-A75DBC54B30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751977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E36EF4A-E1E3-4CFB-A370-363A53AE54A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B4B3FE4-525A-488C-AFC7-8EC1D032595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5273263-E3EB-4D94-8EAA-5485DADE76B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42FFC2-448A-4024-B341-9580FC6ABEA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84090269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5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A952BE7-E555-49CB-912F-2DF21F6E5C7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04EDC8E2-9C31-4581-87AE-F841834BDEB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B946F5-74CF-41A0-BED2-356E87AAF1B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F19FA-E212-441D-B058-1BA54EA885B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34372989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3825" y="1444625"/>
            <a:ext cx="4364038" cy="48926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0264" y="1444625"/>
            <a:ext cx="4365625" cy="48926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6CA80BB-EF79-4697-95F4-4CF365F3DF4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219BED-B75E-41D8-B12E-D066750A22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A79D3E-4CD7-4042-BE82-CF5FE3474B2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41A980-CA47-4CFC-9D11-E9B941842FC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134509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G_BM_RGB">
            <a:extLst>
              <a:ext uri="{FF2B5EF4-FFF2-40B4-BE49-F238E27FC236}">
                <a16:creationId xmlns:a16="http://schemas.microsoft.com/office/drawing/2014/main" id="{889E80D4-0825-4580-9C43-2850EFE78A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0" t="10782" r="9810" b="10782"/>
          <a:stretch>
            <a:fillRect/>
          </a:stretch>
        </p:blipFill>
        <p:spPr bwMode="auto">
          <a:xfrm>
            <a:off x="8543925" y="74613"/>
            <a:ext cx="49053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3" descr="TS_BM_RGB">
            <a:extLst>
              <a:ext uri="{FF2B5EF4-FFF2-40B4-BE49-F238E27FC236}">
                <a16:creationId xmlns:a16="http://schemas.microsoft.com/office/drawing/2014/main" id="{AB4ABBE4-AF6F-46B2-837D-BE8247913E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2" b="214"/>
          <a:stretch>
            <a:fillRect/>
          </a:stretch>
        </p:blipFill>
        <p:spPr bwMode="auto">
          <a:xfrm>
            <a:off x="141288" y="6608763"/>
            <a:ext cx="1095375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356259" y="6"/>
            <a:ext cx="2647950" cy="296862"/>
          </a:xfrm>
          <a:prstGeom prst="rect">
            <a:avLst/>
          </a:prstGeom>
        </p:spPr>
        <p:txBody>
          <a:bodyPr lIns="83437" tIns="41720" rIns="83437" bIns="41720"/>
          <a:lstStyle>
            <a:lvl1pPr marL="0" indent="0">
              <a:buNone/>
              <a:defRPr sz="11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308C60E-13DD-4270-AC5A-F97FB9029466}"/>
              </a:ext>
            </a:extLst>
          </p:cNvPr>
          <p:cNvSpPr>
            <a:spLocks noGrp="1" noChangeArrowheads="1"/>
          </p:cNvSpPr>
          <p:nvPr>
            <p:ph type="dt" sz="half" idx="14"/>
          </p:nvPr>
        </p:nvSpPr>
        <p:spPr>
          <a:xfrm>
            <a:off x="7369175" y="6475413"/>
            <a:ext cx="1058863" cy="107950"/>
          </a:xfrm>
          <a:prstGeom prst="rect">
            <a:avLst/>
          </a:prstGeom>
        </p:spPr>
        <p:txBody>
          <a:bodyPr lIns="84491" tIns="42245" rIns="84491" bIns="42245"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B8C3E91D-5399-46C0-B905-C14C6D5A4134}"/>
              </a:ext>
            </a:extLst>
          </p:cNvPr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RRC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A7F1EC6A-7827-4165-9F63-034637619FDA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292FD9-C244-4BAD-A48F-A6BA2A7963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7037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0896443-B784-4D4C-9801-4E3B6C96E83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4C43A789-6060-42B0-AF65-619F8571509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1238271E-B771-4597-85F3-679BB34BA51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1EC8F0-6BAE-4599-A7D5-CA2BD6FB891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51849417"/>
      </p:ext>
    </p:extLst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F8D72361-BF12-4464-98EA-0AEFD98B458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89CFC695-5ECB-43F1-8977-02F53B6C082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DC9B9F67-A389-4514-9E16-AF73BC6EE6D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7ECF78-D753-4468-9033-47C5A6C901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56681963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A13C109F-2671-4358-A4E4-5A2A745775B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A57A48F6-62BF-4EE8-A9F3-8C97D68B008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20951824-DCE1-46A2-B0ED-DD186A2FDD5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916060-A911-4107-8329-D6043EF363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954027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25C7E5-D5AA-4742-A199-7A24C40421A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D9E391-822A-4654-A082-79DDE7C4B38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A99B71-0500-4253-A19D-7EBFC8BF5CD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32DA7-52BC-4E23-9350-81154C875DA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8148948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9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576C06-52A3-4E9C-87E1-634024B8364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C7CFA4D-12BC-4258-9ADB-E1C0D9D83F2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50ADA4-FD82-4B77-899E-E9E55030B18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E109F0-B4E3-494E-AC89-C589EA26909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70222755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6EDC5BD-289D-4195-AA5E-6AE5A7393EF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E61675F-093D-4400-BD8B-709F5870235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98A1B81-EF0B-41E7-BA8E-09368B9BA59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11803-FE22-487A-AEE8-7198D9CFBFE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22175912"/>
      </p:ext>
    </p:extLst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3550" y="592138"/>
            <a:ext cx="2228850" cy="5745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3826" y="592138"/>
            <a:ext cx="6537325" cy="5745162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EF15139-22D2-45D5-A6ED-E1FD948A8D2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33F9E66-4B9F-4661-B4DC-E2A1B47F140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C4DBCCA-1709-4078-9C10-0D0BF6E45AE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3A888-9CBC-443D-A5C7-E8AD5936C3E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8485241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>
            <a:extLst>
              <a:ext uri="{FF2B5EF4-FFF2-40B4-BE49-F238E27FC236}">
                <a16:creationId xmlns:a16="http://schemas.microsoft.com/office/drawing/2014/main" id="{D810D707-6F6C-4A74-AD43-3D22D6115A8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4013" y="1562100"/>
            <a:ext cx="1506537" cy="4762500"/>
            <a:chOff x="404813" y="1566716"/>
            <a:chExt cx="1719262" cy="477479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58892DA9-11FA-49B7-A3D0-FDC71895722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769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B57B75B-D7B1-4000-813D-8B8E914101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2836812"/>
              <a:ext cx="1719262" cy="96610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760">
                <a:defRPr/>
              </a:pPr>
              <a:r>
                <a:rPr lang="en-GB" sz="1500" b="1" dirty="0">
                  <a:latin typeface="Arial" charset="0"/>
                  <a:ea typeface="ＭＳ Ｐゴシック" pitchFamily="34" charset="-128"/>
                  <a:cs typeface="Arial" charset="0"/>
                </a:rPr>
                <a:t>Tex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01F44DC-191B-4717-8909-EA8A460959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4105316"/>
              <a:ext cx="1719262" cy="9661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Tex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E56C811-6E8E-4D08-8A80-49A04FFF37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5373820"/>
              <a:ext cx="1719262" cy="96769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Text</a:t>
              </a:r>
            </a:p>
          </p:txBody>
        </p:sp>
      </p:grpSp>
      <p:sp>
        <p:nvSpPr>
          <p:cNvPr id="9" name="AutoShape 9">
            <a:extLst>
              <a:ext uri="{FF2B5EF4-FFF2-40B4-BE49-F238E27FC236}">
                <a16:creationId xmlns:a16="http://schemas.microsoft.com/office/drawing/2014/main" id="{FD9A9D5E-F035-4309-96E3-5A97E277462B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2499519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0" name="AutoShape 9">
            <a:extLst>
              <a:ext uri="{FF2B5EF4-FFF2-40B4-BE49-F238E27FC236}">
                <a16:creationId xmlns:a16="http://schemas.microsoft.com/office/drawing/2014/main" id="{F30D4570-6DC0-46DD-85D0-437EF9D2BD58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6788" y="3805238"/>
            <a:ext cx="309562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1" name="AutoShape 9">
            <a:extLst>
              <a:ext uri="{FF2B5EF4-FFF2-40B4-BE49-F238E27FC236}">
                <a16:creationId xmlns:a16="http://schemas.microsoft.com/office/drawing/2014/main" id="{6C3EF86A-90E5-4365-B39F-CE01C94BBF60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5056982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9AAF5C-4B95-46A2-960E-1ED9FD31BB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152241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81843A6-35CF-4043-BEE8-A7E02DDF5EF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277336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BB6A0D-DC3C-4C08-AD19-3D166E890E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5278438"/>
            <a:ext cx="681513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D3CC18B-82D3-4124-A6E3-83D3C5CA0B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4022725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DD234A3B-395F-4345-AF14-ACD1DBB69A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A4B8BF-571F-499E-B69C-C18EFCD5748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9867CFA-E0BC-4563-B066-9D26FF406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96201490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CA7F3B5-FD56-4BFA-88A9-51CB968BDFBC}"/>
              </a:ext>
            </a:extLst>
          </p:cNvPr>
          <p:cNvGraphicFramePr>
            <a:graphicFrameLocks noGrp="1"/>
          </p:cNvGraphicFramePr>
          <p:nvPr/>
        </p:nvGraphicFramePr>
        <p:xfrm>
          <a:off x="327025" y="1363663"/>
          <a:ext cx="8320088" cy="5184775"/>
        </p:xfrm>
        <a:graphic>
          <a:graphicData uri="http://schemas.openxmlformats.org/drawingml/2006/table">
            <a:tbl>
              <a:tblPr firstRow="1"/>
              <a:tblGrid>
                <a:gridCol w="313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9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9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8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C1DDE42-82DA-4B15-9E64-0E6D68C4E7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88186-5BB0-448E-90D8-E35ECB4A2A1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0B5F093-C0C8-4FF3-B8BF-7D061A985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84560219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0F31C9-7EA2-4A0F-9431-9328B6A1F95A}"/>
              </a:ext>
            </a:extLst>
          </p:cNvPr>
          <p:cNvSpPr/>
          <p:nvPr userDrawn="1"/>
        </p:nvSpPr>
        <p:spPr>
          <a:xfrm>
            <a:off x="1414463" y="2701925"/>
            <a:ext cx="1057275" cy="5445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D74C82-E0F3-4DF3-8DF0-51823ED00CCA}"/>
              </a:ext>
            </a:extLst>
          </p:cNvPr>
          <p:cNvSpPr/>
          <p:nvPr userDrawn="1"/>
        </p:nvSpPr>
        <p:spPr>
          <a:xfrm>
            <a:off x="2435225" y="3336925"/>
            <a:ext cx="1055688" cy="8080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8352913-DA5A-4272-940B-4E694F853513}"/>
              </a:ext>
            </a:extLst>
          </p:cNvPr>
          <p:cNvSpPr/>
          <p:nvPr userDrawn="1"/>
        </p:nvSpPr>
        <p:spPr>
          <a:xfrm>
            <a:off x="3459163" y="4354513"/>
            <a:ext cx="1057275" cy="2019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9C1F27-E8E9-4678-9DD0-BD72D30BDCD5}"/>
              </a:ext>
            </a:extLst>
          </p:cNvPr>
          <p:cNvSpPr/>
          <p:nvPr userDrawn="1"/>
        </p:nvSpPr>
        <p:spPr>
          <a:xfrm>
            <a:off x="393700" y="1492250"/>
            <a:ext cx="8416925" cy="30956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r>
              <a:rPr lang="en-IN" b="1" dirty="0"/>
              <a:t>Text</a:t>
            </a:r>
          </a:p>
        </p:txBody>
      </p:sp>
      <p:sp>
        <p:nvSpPr>
          <p:cNvPr id="8" name="Bent-Up Arrow 20">
            <a:extLst>
              <a:ext uri="{FF2B5EF4-FFF2-40B4-BE49-F238E27FC236}">
                <a16:creationId xmlns:a16="http://schemas.microsoft.com/office/drawing/2014/main" id="{C74A49CF-0DC8-42E0-956C-1F76B860B3B9}"/>
              </a:ext>
            </a:extLst>
          </p:cNvPr>
          <p:cNvSpPr/>
          <p:nvPr userDrawn="1"/>
        </p:nvSpPr>
        <p:spPr>
          <a:xfrm rot="5400000">
            <a:off x="2397125" y="4189413"/>
            <a:ext cx="1100137" cy="102393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DD34244-B013-4FFA-B259-BCC30D517383}"/>
              </a:ext>
            </a:extLst>
          </p:cNvPr>
          <p:cNvSpPr/>
          <p:nvPr userDrawn="1"/>
        </p:nvSpPr>
        <p:spPr>
          <a:xfrm>
            <a:off x="1455738" y="1951038"/>
            <a:ext cx="7300912" cy="5794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chemeClr val="tx1"/>
                </a:solidFill>
              </a:rPr>
              <a:t>Text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B8DD891-5C75-4DA3-A6C3-E2AA90BFB3D1}"/>
              </a:ext>
            </a:extLst>
          </p:cNvPr>
          <p:cNvSpPr/>
          <p:nvPr userDrawn="1"/>
        </p:nvSpPr>
        <p:spPr>
          <a:xfrm>
            <a:off x="2439988" y="2701925"/>
            <a:ext cx="6316662" cy="5461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chemeClr val="tx1"/>
                </a:solidFill>
              </a:rPr>
              <a:t>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D43C707-CA89-4DD9-A6E5-CE356A71DCA4}"/>
              </a:ext>
            </a:extLst>
          </p:cNvPr>
          <p:cNvSpPr/>
          <p:nvPr userDrawn="1"/>
        </p:nvSpPr>
        <p:spPr>
          <a:xfrm>
            <a:off x="3500438" y="3336925"/>
            <a:ext cx="5256212" cy="808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chemeClr val="tx1"/>
                </a:solidFill>
              </a:rPr>
              <a:t>Text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EEBE99-BBEE-4FFB-9C75-B5256CA82B58}"/>
              </a:ext>
            </a:extLst>
          </p:cNvPr>
          <p:cNvSpPr/>
          <p:nvPr userDrawn="1"/>
        </p:nvSpPr>
        <p:spPr>
          <a:xfrm>
            <a:off x="4546600" y="4354513"/>
            <a:ext cx="4210050" cy="20193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chemeClr val="tx1"/>
                </a:solidFill>
              </a:rPr>
              <a:t>Text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chemeClr val="tx1"/>
              </a:solidFill>
            </a:endParaRPr>
          </a:p>
        </p:txBody>
      </p:sp>
      <p:sp>
        <p:nvSpPr>
          <p:cNvPr id="13" name="Bent-Up Arrow 25">
            <a:extLst>
              <a:ext uri="{FF2B5EF4-FFF2-40B4-BE49-F238E27FC236}">
                <a16:creationId xmlns:a16="http://schemas.microsoft.com/office/drawing/2014/main" id="{5685716B-EADF-4B6A-A296-5D2CF0F9DF86}"/>
              </a:ext>
            </a:extLst>
          </p:cNvPr>
          <p:cNvSpPr/>
          <p:nvPr userDrawn="1"/>
        </p:nvSpPr>
        <p:spPr>
          <a:xfrm rot="5400000">
            <a:off x="1473994" y="3190082"/>
            <a:ext cx="901700" cy="1020762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/>
          </a:p>
        </p:txBody>
      </p:sp>
      <p:sp>
        <p:nvSpPr>
          <p:cNvPr id="14" name="Bent-Up Arrow 26">
            <a:extLst>
              <a:ext uri="{FF2B5EF4-FFF2-40B4-BE49-F238E27FC236}">
                <a16:creationId xmlns:a16="http://schemas.microsoft.com/office/drawing/2014/main" id="{8769EC4D-773D-4EA2-91A3-97E58664A38F}"/>
              </a:ext>
            </a:extLst>
          </p:cNvPr>
          <p:cNvSpPr/>
          <p:nvPr userDrawn="1"/>
        </p:nvSpPr>
        <p:spPr>
          <a:xfrm rot="5400000">
            <a:off x="545307" y="2377281"/>
            <a:ext cx="717550" cy="1020763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8D88F30-E7D9-44D3-9B54-CBFBFD4375FF}"/>
              </a:ext>
            </a:extLst>
          </p:cNvPr>
          <p:cNvSpPr/>
          <p:nvPr userDrawn="1"/>
        </p:nvSpPr>
        <p:spPr>
          <a:xfrm>
            <a:off x="393700" y="1951038"/>
            <a:ext cx="1057275" cy="5778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4FD9B05E-E094-4837-B390-5810D19F55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613926-FA1E-46BF-BED7-485A5CB6B2F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43F02603-77E9-4120-93AF-DF0545C95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76314008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E3EE29B-09D2-4F76-9607-FFECE768F9A1}"/>
              </a:ext>
            </a:extLst>
          </p:cNvPr>
          <p:cNvGraphicFramePr>
            <a:graphicFrameLocks noGrp="1"/>
          </p:cNvGraphicFramePr>
          <p:nvPr/>
        </p:nvGraphicFramePr>
        <p:xfrm>
          <a:off x="209550" y="1349375"/>
          <a:ext cx="8783638" cy="5062538"/>
        </p:xfrm>
        <a:graphic>
          <a:graphicData uri="http://schemas.openxmlformats.org/drawingml/2006/table">
            <a:tbl>
              <a:tblPr firstRow="1"/>
              <a:tblGrid>
                <a:gridCol w="2650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3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65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Up Arrow 5">
            <a:extLst>
              <a:ext uri="{FF2B5EF4-FFF2-40B4-BE49-F238E27FC236}">
                <a16:creationId xmlns:a16="http://schemas.microsoft.com/office/drawing/2014/main" id="{A3F0F55F-32D8-49FC-BE6A-029CF1CB14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1879600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/>
          </a:p>
        </p:txBody>
      </p:sp>
      <p:sp>
        <p:nvSpPr>
          <p:cNvPr id="6" name="Up Arrow 6">
            <a:extLst>
              <a:ext uri="{FF2B5EF4-FFF2-40B4-BE49-F238E27FC236}">
                <a16:creationId xmlns:a16="http://schemas.microsoft.com/office/drawing/2014/main" id="{F960010B-2FD0-4B2A-B021-CC8758E24F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2833688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/>
          </a:p>
        </p:txBody>
      </p:sp>
      <p:sp>
        <p:nvSpPr>
          <p:cNvPr id="7" name="Up Arrow 7">
            <a:extLst>
              <a:ext uri="{FF2B5EF4-FFF2-40B4-BE49-F238E27FC236}">
                <a16:creationId xmlns:a16="http://schemas.microsoft.com/office/drawing/2014/main" id="{014862CA-694D-4F07-BA9F-76232584D9BA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4816475" y="2384425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EB5335"/>
          </a:solidFill>
          <a:ln w="19050" algn="ctr">
            <a:solidFill>
              <a:srgbClr val="EB5335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9653CC0-0357-4806-BD87-A873E90D51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BFA27-B84D-4F79-93CF-D8A06C2C02F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2906DAB-833B-42A9-8A5E-BD78949F4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10910148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AE80877-1657-449C-93B9-FE422EE584FD}"/>
              </a:ext>
            </a:extLst>
          </p:cNvPr>
          <p:cNvSpPr/>
          <p:nvPr userDrawn="1"/>
        </p:nvSpPr>
        <p:spPr>
          <a:xfrm>
            <a:off x="469900" y="1139825"/>
            <a:ext cx="8499475" cy="5127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86DA904E-94B2-4DC6-911E-CB8701BDA5C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7800" y="1155700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1B0298-6C5D-4F9F-9CDA-FBA8A277D851}"/>
              </a:ext>
            </a:extLst>
          </p:cNvPr>
          <p:cNvSpPr/>
          <p:nvPr userDrawn="1"/>
        </p:nvSpPr>
        <p:spPr>
          <a:xfrm>
            <a:off x="469900" y="2005013"/>
            <a:ext cx="84994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CBC3298C-43A8-4964-9E44-B9F13298B04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79388" y="2070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716586-B2F6-463C-9966-848AA4E793A9}"/>
              </a:ext>
            </a:extLst>
          </p:cNvPr>
          <p:cNvSpPr/>
          <p:nvPr userDrawn="1"/>
        </p:nvSpPr>
        <p:spPr>
          <a:xfrm>
            <a:off x="469900" y="2914650"/>
            <a:ext cx="8499475" cy="571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D7C3FAB5-7BBD-47B6-AE0D-84AB008509B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71450" y="297021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B3914B-4E2E-411C-846A-A57FC54B1FEA}"/>
              </a:ext>
            </a:extLst>
          </p:cNvPr>
          <p:cNvSpPr/>
          <p:nvPr userDrawn="1"/>
        </p:nvSpPr>
        <p:spPr>
          <a:xfrm>
            <a:off x="469900" y="3838575"/>
            <a:ext cx="8499475" cy="544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5E4AB1A6-86E0-4294-858B-9127C9B6972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85738" y="3875088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1529EC-0606-48CA-BDA8-D13FBD970B46}"/>
              </a:ext>
            </a:extLst>
          </p:cNvPr>
          <p:cNvSpPr/>
          <p:nvPr userDrawn="1"/>
        </p:nvSpPr>
        <p:spPr>
          <a:xfrm>
            <a:off x="469900" y="4735513"/>
            <a:ext cx="8499475" cy="49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0D11661E-ABD2-491D-ABFF-D42AE844D58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93675" y="4765675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33FEA8-3FB7-4F18-8DD9-553E32D5A2F8}"/>
              </a:ext>
            </a:extLst>
          </p:cNvPr>
          <p:cNvSpPr/>
          <p:nvPr userDrawn="1"/>
        </p:nvSpPr>
        <p:spPr>
          <a:xfrm>
            <a:off x="469900" y="5521325"/>
            <a:ext cx="84994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14" name="Oval 263">
            <a:extLst>
              <a:ext uri="{FF2B5EF4-FFF2-40B4-BE49-F238E27FC236}">
                <a16:creationId xmlns:a16="http://schemas.microsoft.com/office/drawing/2014/main" id="{7BCB9167-C184-4998-B01F-AE3EB24FC92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93675" y="55514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F563A67-03AF-4D28-B3E1-0DBB7CBC60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45FC9E-AF60-426E-92B2-9572ED0625A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18DE1732-9360-4E21-B8F3-093D2B729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37725085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D43ADB1-AF65-4E58-BE8B-04944010C310}"/>
              </a:ext>
            </a:extLst>
          </p:cNvPr>
          <p:cNvSpPr/>
          <p:nvPr userDrawn="1"/>
        </p:nvSpPr>
        <p:spPr>
          <a:xfrm>
            <a:off x="604838" y="1658938"/>
            <a:ext cx="4594225" cy="6905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5" name="Oval 259">
            <a:extLst>
              <a:ext uri="{FF2B5EF4-FFF2-40B4-BE49-F238E27FC236}">
                <a16:creationId xmlns:a16="http://schemas.microsoft.com/office/drawing/2014/main" id="{29518352-4083-4CE6-93E1-A14EC79C1A8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85763" y="17716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3C138A1-53F4-4D4E-AE3F-095FFDB3DE34}"/>
              </a:ext>
            </a:extLst>
          </p:cNvPr>
          <p:cNvSpPr/>
          <p:nvPr userDrawn="1"/>
        </p:nvSpPr>
        <p:spPr>
          <a:xfrm>
            <a:off x="604838" y="2524125"/>
            <a:ext cx="4594225" cy="749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7" name="Oval 260">
            <a:extLst>
              <a:ext uri="{FF2B5EF4-FFF2-40B4-BE49-F238E27FC236}">
                <a16:creationId xmlns:a16="http://schemas.microsoft.com/office/drawing/2014/main" id="{6A6D81F2-4A40-46A2-AE07-DF98CF2BCB1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85763" y="26733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5C921F-E2DD-4205-AC92-BA11F3E00D75}"/>
              </a:ext>
            </a:extLst>
          </p:cNvPr>
          <p:cNvSpPr/>
          <p:nvPr userDrawn="1"/>
        </p:nvSpPr>
        <p:spPr>
          <a:xfrm>
            <a:off x="604838" y="3433763"/>
            <a:ext cx="4594225" cy="768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9" name="Oval 261">
            <a:extLst>
              <a:ext uri="{FF2B5EF4-FFF2-40B4-BE49-F238E27FC236}">
                <a16:creationId xmlns:a16="http://schemas.microsoft.com/office/drawing/2014/main" id="{E4570649-DE2A-4DEC-AEC3-5EA2E99F47D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79413" y="35877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0B3E0A-B893-473A-AF4C-1CD68EDA2F64}"/>
              </a:ext>
            </a:extLst>
          </p:cNvPr>
          <p:cNvSpPr/>
          <p:nvPr userDrawn="1"/>
        </p:nvSpPr>
        <p:spPr>
          <a:xfrm>
            <a:off x="604838" y="4357688"/>
            <a:ext cx="4594225" cy="7334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11" name="Oval 262">
            <a:extLst>
              <a:ext uri="{FF2B5EF4-FFF2-40B4-BE49-F238E27FC236}">
                <a16:creationId xmlns:a16="http://schemas.microsoft.com/office/drawing/2014/main" id="{00B4BD87-EE3F-483F-B96A-D89B85276CF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392113" y="4492625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039415-BD9E-494C-8788-4B7E1441D25D}"/>
              </a:ext>
            </a:extLst>
          </p:cNvPr>
          <p:cNvSpPr/>
          <p:nvPr userDrawn="1"/>
        </p:nvSpPr>
        <p:spPr>
          <a:xfrm>
            <a:off x="604838" y="5254625"/>
            <a:ext cx="4594225" cy="665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/>
              <a:t>Text</a:t>
            </a:r>
          </a:p>
        </p:txBody>
      </p:sp>
      <p:sp>
        <p:nvSpPr>
          <p:cNvPr id="13" name="Oval 263">
            <a:extLst>
              <a:ext uri="{FF2B5EF4-FFF2-40B4-BE49-F238E27FC236}">
                <a16:creationId xmlns:a16="http://schemas.microsoft.com/office/drawing/2014/main" id="{C2D76FDA-02BA-47BD-882A-603C01E89D5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63538" y="5341938"/>
            <a:ext cx="409575" cy="46513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8F335F-DBC9-473D-9597-ED9479CAF0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1668463"/>
            <a:ext cx="1674813" cy="688975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1D0CF9-DC0A-48A6-9FFF-B2EDC74F72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2533650"/>
            <a:ext cx="1674813" cy="74771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F34E65-BF0D-49F6-BCBB-030CC3EFB41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3441700"/>
            <a:ext cx="1674813" cy="769938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D44E474-989A-4FFF-A903-1E5EC61AC8B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4367213"/>
            <a:ext cx="1674813" cy="731837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8771DC2-096B-4189-9C2E-43536CA48EE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5264150"/>
            <a:ext cx="1674813" cy="66516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158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134CDA-7DA3-4363-B0DF-A763639249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1668463"/>
            <a:ext cx="1674812" cy="688975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6C9CD4-3E26-4725-B3DC-BBC5BFCC7A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2533650"/>
            <a:ext cx="1674812" cy="74771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5C5D91-B6EB-4383-9C8C-A988C15380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3441700"/>
            <a:ext cx="1674812" cy="769938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A8794A6-BF2F-492E-AE8A-1B0A285ED9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4367213"/>
            <a:ext cx="1674812" cy="731837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1F53BA-1DDB-4A5A-BF17-DC3B0646B4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5264150"/>
            <a:ext cx="1674812" cy="66516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/>
              <a:t>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7C14FB-2914-4D8B-B147-F7D9241AD2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56250" y="1306513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/>
              <a:t>Description</a:t>
            </a:r>
            <a:endParaRPr lang="en-US" altLang="en-US" sz="1500" b="1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5BB630-47C9-4EA2-A071-7285A1AE5F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6950" y="1290638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/>
              <a:t>Description</a:t>
            </a:r>
            <a:endParaRPr lang="en-US" altLang="en-US" sz="1500" b="1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78858E-D7A2-4215-8F51-9189A911AD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838" y="1306513"/>
            <a:ext cx="1227137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/>
              <a:t>Description</a:t>
            </a:r>
            <a:endParaRPr lang="en-US" altLang="en-US" sz="1500" b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1626594B-5926-4711-A794-B962A64A38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808201-7170-4315-BF66-1FBB2848D0F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0AACE6CF-F564-4386-8BB0-4898983523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21386592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4770390-E94A-438D-B578-23D80FD37C62}"/>
              </a:ext>
            </a:extLst>
          </p:cNvPr>
          <p:cNvGraphicFramePr>
            <a:graphicFrameLocks/>
          </p:cNvGraphicFramePr>
          <p:nvPr/>
        </p:nvGraphicFramePr>
        <p:xfrm>
          <a:off x="393700" y="1463675"/>
          <a:ext cx="8366125" cy="5183188"/>
        </p:xfrm>
        <a:graphic>
          <a:graphicData uri="http://schemas.openxmlformats.org/drawingml/2006/table">
            <a:tbl>
              <a:tblPr firstRow="1" bandRow="1"/>
              <a:tblGrid>
                <a:gridCol w="394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368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5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31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14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55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02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DAB34C96-2F89-43BE-B3AB-EC27B1E596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F2722A-6D97-43E7-8DC0-91D67E0CCC7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DC3A124E-7DA2-4142-AEFA-E9FCD5F7EB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2620165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09444" y="1094240"/>
            <a:ext cx="8710375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00C65AC-75F1-4A29-AEB4-7B97731BB692}"/>
              </a:ext>
            </a:extLst>
          </p:cNvPr>
          <p:cNvSpPr>
            <a:spLocks noGrp="1" noChangeArrowheads="1"/>
          </p:cNvSpPr>
          <p:nvPr>
            <p:ph type="ftr" sz="quarter" idx="16"/>
          </p:nvPr>
        </p:nvSpPr>
        <p:spPr>
          <a:xfrm>
            <a:off x="1984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EDD839E2-FCEA-422A-AD64-A1189F02A0F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56259C7D-6442-4158-9152-C599BA3819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3066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59E3FE1-DD99-4B52-941C-C5EC45800AE9}"/>
              </a:ext>
            </a:extLst>
          </p:cNvPr>
          <p:cNvGraphicFramePr>
            <a:graphicFrameLocks noGrp="1"/>
          </p:cNvGraphicFramePr>
          <p:nvPr/>
        </p:nvGraphicFramePr>
        <p:xfrm>
          <a:off x="393700" y="1401763"/>
          <a:ext cx="8353425" cy="2347912"/>
        </p:xfrm>
        <a:graphic>
          <a:graphicData uri="http://schemas.openxmlformats.org/drawingml/2006/table">
            <a:tbl>
              <a:tblPr/>
              <a:tblGrid>
                <a:gridCol w="1517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8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15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49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26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329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7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5" name="Group 10">
            <a:extLst>
              <a:ext uri="{FF2B5EF4-FFF2-40B4-BE49-F238E27FC236}">
                <a16:creationId xmlns:a16="http://schemas.microsoft.com/office/drawing/2014/main" id="{3F3C2F18-1A23-4368-B4EA-2E3BEBA3262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98463" y="4192588"/>
            <a:ext cx="8361362" cy="2232025"/>
            <a:chOff x="123367" y="5147491"/>
            <a:chExt cx="8864071" cy="1583827"/>
          </a:xfrm>
        </p:grpSpPr>
        <p:sp>
          <p:nvSpPr>
            <p:cNvPr id="6" name="Tijdelijke aanduiding voor verticale tekst 24">
              <a:extLst>
                <a:ext uri="{FF2B5EF4-FFF2-40B4-BE49-F238E27FC236}">
                  <a16:creationId xmlns:a16="http://schemas.microsoft.com/office/drawing/2014/main" id="{2803E46A-3883-4F29-9F99-BA4D5B5A1223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405454"/>
              <a:ext cx="8864071" cy="1325864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50" lvl="1">
                <a:buFont typeface="Wingdings" pitchFamily="2" charset="2"/>
                <a:buChar char="§"/>
                <a:defRPr/>
              </a:pPr>
              <a:r>
                <a:rPr lang="en-GB" sz="1300" dirty="0"/>
                <a:t>Text</a:t>
              </a:r>
              <a:endParaRPr lang="en-GB" sz="1100" dirty="0"/>
            </a:p>
          </p:txBody>
        </p:sp>
        <p:sp>
          <p:nvSpPr>
            <p:cNvPr id="7" name="Tijdelijke aanduiding voor verticale tekst 25">
              <a:extLst>
                <a:ext uri="{FF2B5EF4-FFF2-40B4-BE49-F238E27FC236}">
                  <a16:creationId xmlns:a16="http://schemas.microsoft.com/office/drawing/2014/main" id="{23DE8FBB-3320-402B-8CAF-9BD576A216EB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147491"/>
              <a:ext cx="8864071" cy="257963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none" lIns="180000" tIns="72000" rIns="216000" anchor="ctr"/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2082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 dirty="0">
                  <a:solidFill>
                    <a:schemeClr val="tx1"/>
                  </a:solidFill>
                </a:rPr>
                <a:t>Highlights</a:t>
              </a: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1F5AC25-B931-40D2-9954-5DF029662CA5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3859213"/>
          <a:ext cx="8382000" cy="219075"/>
        </p:xfrm>
        <a:graphic>
          <a:graphicData uri="http://schemas.openxmlformats.org/drawingml/2006/table">
            <a:tbl>
              <a:tblPr/>
              <a:tblGrid>
                <a:gridCol w="2095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55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1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94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8869" marR="8869" marT="965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859A905-784B-49D2-92CC-6F831313F0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CED87E-C6F2-4055-A06F-D3409FC369A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D29C04B-0552-4DD1-8EDD-99E25D474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69426284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4">
            <a:extLst>
              <a:ext uri="{FF2B5EF4-FFF2-40B4-BE49-F238E27FC236}">
                <a16:creationId xmlns:a16="http://schemas.microsoft.com/office/drawing/2014/main" id="{992AC28B-1318-4D73-ADCC-C577D5BE57F3}"/>
              </a:ext>
            </a:extLst>
          </p:cNvPr>
          <p:cNvSpPr/>
          <p:nvPr userDrawn="1"/>
        </p:nvSpPr>
        <p:spPr bwMode="auto">
          <a:xfrm>
            <a:off x="4508500" y="1598613"/>
            <a:ext cx="4435475" cy="4967287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latin typeface="Arial" charset="0"/>
                <a:cs typeface="Arial" charset="0"/>
              </a:rPr>
              <a:t>Text</a:t>
            </a:r>
            <a:endParaRPr lang="en-IN" sz="1700" b="1" dirty="0">
              <a:latin typeface="Arial" charset="0"/>
              <a:cs typeface="Arial" charset="0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latin typeface="Arial" charset="0"/>
                <a:cs typeface="Arial" charset="0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latin typeface="Arial" charset="0"/>
                <a:cs typeface="Arial" charset="0"/>
              </a:rPr>
              <a:t>Text</a:t>
            </a:r>
            <a:endParaRPr lang="en-IN" sz="1500" b="1" dirty="0">
              <a:latin typeface="Arial" charset="0"/>
              <a:cs typeface="Arial" charset="0"/>
            </a:endParaRPr>
          </a:p>
        </p:txBody>
      </p:sp>
      <p:sp>
        <p:nvSpPr>
          <p:cNvPr id="5" name="Pentagon 5">
            <a:extLst>
              <a:ext uri="{FF2B5EF4-FFF2-40B4-BE49-F238E27FC236}">
                <a16:creationId xmlns:a16="http://schemas.microsoft.com/office/drawing/2014/main" id="{8A805547-EC01-4634-BF43-CD5346D97E36}"/>
              </a:ext>
            </a:extLst>
          </p:cNvPr>
          <p:cNvSpPr/>
          <p:nvPr userDrawn="1"/>
        </p:nvSpPr>
        <p:spPr bwMode="auto">
          <a:xfrm>
            <a:off x="233363" y="1598613"/>
            <a:ext cx="4460875" cy="4967287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latin typeface="Arial" charset="0"/>
                <a:cs typeface="Arial" charset="0"/>
              </a:rPr>
              <a:t>Text</a:t>
            </a:r>
            <a:endParaRPr lang="en-IN" sz="1700" b="1" dirty="0">
              <a:latin typeface="Arial" charset="0"/>
              <a:cs typeface="Arial" charset="0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latin typeface="Arial" charset="0"/>
                <a:cs typeface="Arial" charset="0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latin typeface="Arial" charset="0"/>
                <a:cs typeface="Arial" charset="0"/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18419" y="1106955"/>
            <a:ext cx="872604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0F9F1C57-E5FA-4D46-9BDD-D5046AFBCE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694A7-C23C-49DC-8A3E-74ADB3D5296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C637E4D-385D-4F54-9BC3-65A69B2707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5814371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AFE44BC4-2221-4E4E-B390-DC61FEA58F3D}"/>
              </a:ext>
            </a:extLst>
          </p:cNvPr>
          <p:cNvGraphicFramePr/>
          <p:nvPr userDrawn="1"/>
        </p:nvGraphicFramePr>
        <p:xfrm>
          <a:off x="402863" y="1585246"/>
          <a:ext cx="4833219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F8C6F6D-D5A3-425A-ABC0-92A0F692C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3194050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3A2131-5AAB-486A-BC5F-DF235587912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566863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42F367-230D-4C05-A884-71CEE3E9F8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4821238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B2498595-4B3D-44AD-82DB-9BF88D759A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D6706-424D-45B4-B93F-F0C606DB8BC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EF35667-610D-4A7B-BAB7-D0E7BC4A4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41976664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C2D70D-2D9D-49BF-87C0-367248FB249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1493838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/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EEF7DD-CBDC-4B95-9A04-E3118BAF29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24150" y="15033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/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210BC2-F506-44B2-B061-6CC1E3E18C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41195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/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A34E1E-B678-4AC3-93C5-D9C001F5A6B4}"/>
              </a:ext>
            </a:extLst>
          </p:cNvPr>
          <p:cNvSpPr/>
          <p:nvPr userDrawn="1"/>
        </p:nvSpPr>
        <p:spPr>
          <a:xfrm rot="425343">
            <a:off x="2832100" y="4198938"/>
            <a:ext cx="2143125" cy="24415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8A3972-C45F-43F9-80F8-8EC1F0BBD5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482725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F1CD3E9-C931-448F-B87C-AE8CCBDF3F1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F8A07D-DDF9-4288-BB71-169B6606E35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C2AAD267-21D3-472A-96BA-930127E13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45687240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132196A-CDC2-4719-811E-E02ACF9BD7C5}"/>
              </a:ext>
            </a:extLst>
          </p:cNvPr>
          <p:cNvSpPr/>
          <p:nvPr userDrawn="1"/>
        </p:nvSpPr>
        <p:spPr>
          <a:xfrm>
            <a:off x="134938" y="1646238"/>
            <a:ext cx="2843212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chemeClr val="tx1"/>
                </a:solidFill>
              </a:rPr>
              <a:t>Descrip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BD02EB3-B8D5-40E8-A9C3-AADFCF3329FE}"/>
              </a:ext>
            </a:extLst>
          </p:cNvPr>
          <p:cNvCxnSpPr/>
          <p:nvPr userDrawn="1"/>
        </p:nvCxnSpPr>
        <p:spPr>
          <a:xfrm>
            <a:off x="3013075" y="16335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6D433AF-76A9-4371-B06E-C0D4C81C784C}"/>
              </a:ext>
            </a:extLst>
          </p:cNvPr>
          <p:cNvCxnSpPr/>
          <p:nvPr userDrawn="1"/>
        </p:nvCxnSpPr>
        <p:spPr>
          <a:xfrm>
            <a:off x="6059488" y="16462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589A3455-662A-4EF1-9EEB-FAEC862727AC}"/>
              </a:ext>
            </a:extLst>
          </p:cNvPr>
          <p:cNvSpPr/>
          <p:nvPr userDrawn="1"/>
        </p:nvSpPr>
        <p:spPr>
          <a:xfrm>
            <a:off x="114300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B89E34-67FF-47DB-8D4A-5F3B2D295E28}"/>
              </a:ext>
            </a:extLst>
          </p:cNvPr>
          <p:cNvSpPr/>
          <p:nvPr userDrawn="1"/>
        </p:nvSpPr>
        <p:spPr>
          <a:xfrm>
            <a:off x="134938" y="3384550"/>
            <a:ext cx="8823325" cy="3603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buClr>
                <a:srgbClr val="3D7EDB"/>
              </a:buClr>
              <a:defRPr/>
            </a:pPr>
            <a:r>
              <a:rPr lang="en-GB" sz="15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6DF89B-F788-49CC-977F-1D16E73ABFD4}"/>
              </a:ext>
            </a:extLst>
          </p:cNvPr>
          <p:cNvSpPr/>
          <p:nvPr userDrawn="1"/>
        </p:nvSpPr>
        <p:spPr>
          <a:xfrm>
            <a:off x="123825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35AAB7C-FA75-4EBD-BFE6-5CFF76864B33}"/>
              </a:ext>
            </a:extLst>
          </p:cNvPr>
          <p:cNvSpPr/>
          <p:nvPr userDrawn="1"/>
        </p:nvSpPr>
        <p:spPr>
          <a:xfrm>
            <a:off x="3074988" y="1646238"/>
            <a:ext cx="2954337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206C17-272F-46A4-A3A5-C9F2D777E334}"/>
              </a:ext>
            </a:extLst>
          </p:cNvPr>
          <p:cNvSpPr/>
          <p:nvPr userDrawn="1"/>
        </p:nvSpPr>
        <p:spPr>
          <a:xfrm>
            <a:off x="3054350" y="3886200"/>
            <a:ext cx="2952750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57F1DE-6FC6-40B9-AF5C-D228A620C3C2}"/>
              </a:ext>
            </a:extLst>
          </p:cNvPr>
          <p:cNvSpPr/>
          <p:nvPr userDrawn="1"/>
        </p:nvSpPr>
        <p:spPr>
          <a:xfrm>
            <a:off x="3062288" y="2073275"/>
            <a:ext cx="2954337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9296296-DAD3-4C4E-9494-9CB6B9071089}"/>
              </a:ext>
            </a:extLst>
          </p:cNvPr>
          <p:cNvSpPr/>
          <p:nvPr userDrawn="1"/>
        </p:nvSpPr>
        <p:spPr>
          <a:xfrm>
            <a:off x="6137275" y="1646238"/>
            <a:ext cx="2843213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chemeClr val="tx1"/>
                </a:solidFill>
              </a:rPr>
              <a:t>Descrip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C65293-D223-4B28-A31E-C3AC944FEC08}"/>
              </a:ext>
            </a:extLst>
          </p:cNvPr>
          <p:cNvSpPr/>
          <p:nvPr userDrawn="1"/>
        </p:nvSpPr>
        <p:spPr>
          <a:xfrm>
            <a:off x="6116638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F5053F0-5221-48CD-8505-BC47A6B0A111}"/>
              </a:ext>
            </a:extLst>
          </p:cNvPr>
          <p:cNvSpPr/>
          <p:nvPr userDrawn="1"/>
        </p:nvSpPr>
        <p:spPr>
          <a:xfrm>
            <a:off x="6126163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13B88ABA-6B7A-4EA5-A65B-BAB75233FA9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73CB95-4DA4-41FC-B50E-8E1C9D400E2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90FDAE03-4B15-4496-8D99-F4FB582E0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6034603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9C4285A-9D13-442B-8498-EF6A84FA442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28587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1500" dirty="0"/>
              <a:t>Text</a:t>
            </a:r>
            <a:endParaRPr lang="en-IN" sz="1500" noProof="1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68F8EDD-B6D1-43CE-9EA0-51DA5960529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922463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/>
          </a:p>
          <a:p>
            <a:pPr marL="316840" indent="-31684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1500" dirty="0"/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9F25D-F352-40CE-B0D7-31F5C02DCDE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2557463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/>
          </a:p>
          <a:p>
            <a:pPr marL="316840" indent="-31684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1500" dirty="0"/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1D6E9DE5-F905-4076-AFB2-10A126AF082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830638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/>
          </a:p>
          <a:p>
            <a:pPr marL="316840" indent="-31684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1500" dirty="0"/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779D538F-052B-43ED-BFE9-9D53FB25728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194050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1500" dirty="0"/>
              <a:t>Text</a:t>
            </a:r>
            <a:endParaRPr lang="en-US" sz="1500" noProof="1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7D703C5A-6576-4654-B81A-57B515E9745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4465638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1500" dirty="0"/>
              <a:t>Text</a:t>
            </a:r>
            <a:endParaRPr lang="en-US" sz="1500" noProof="1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F64DE1D-6A4C-4E36-8085-3DD39BF9D06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510222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/>
          </a:p>
          <a:p>
            <a:pPr marL="316840" indent="-31684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1500" dirty="0"/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8FD2D1D-8BCD-4119-AC74-4CA8E4542F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CA6B26-5C34-4826-9074-C80A65BC34A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028285E1-198C-48E5-A08C-29EF1F08F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0268997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71655A50-2086-40CD-A28A-69BB87851340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433513" y="1435100"/>
            <a:ext cx="72342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D519673-161E-41D3-80FE-59BEA684E9C4}"/>
              </a:ext>
            </a:extLst>
          </p:cNvPr>
          <p:cNvSpPr/>
          <p:nvPr userDrawn="1"/>
        </p:nvSpPr>
        <p:spPr>
          <a:xfrm>
            <a:off x="711200" y="1373188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Content Placeholder 22">
            <a:extLst>
              <a:ext uri="{FF2B5EF4-FFF2-40B4-BE49-F238E27FC236}">
                <a16:creationId xmlns:a16="http://schemas.microsoft.com/office/drawing/2014/main" id="{3C4E09D6-1D40-4382-871F-3F262EFD9430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814513" y="2917825"/>
            <a:ext cx="68151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0C60D3E-36CB-44B5-BB39-A4B6F891C85E}"/>
              </a:ext>
            </a:extLst>
          </p:cNvPr>
          <p:cNvSpPr/>
          <p:nvPr userDrawn="1"/>
        </p:nvSpPr>
        <p:spPr>
          <a:xfrm>
            <a:off x="1092200" y="285591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8033387A-C549-4AC5-BA81-5E6C9E0F20C2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503363" y="4475163"/>
            <a:ext cx="713898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D7EF1E7-69C2-4E8E-A66B-B7114F23FF4D}"/>
              </a:ext>
            </a:extLst>
          </p:cNvPr>
          <p:cNvSpPr/>
          <p:nvPr userDrawn="1"/>
        </p:nvSpPr>
        <p:spPr>
          <a:xfrm>
            <a:off x="781050" y="441166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B734DFA6-FB3C-477C-B9F0-29C0091789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6E66E5-716C-4F35-B428-0EB177E6078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DEEB277A-DA28-42F5-84A3-1E90FA5BD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25294982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BA455E87-F7EC-4DD3-906D-A73C1BE8006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2010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EC40013-6DE7-4075-A95A-C04E038D69E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BB7E4F4-77B1-4CB5-99A4-FF9ECCEE9E0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ECD5676-DA1E-4CBB-8EB5-8DEB0461C453}" type="slidenum">
              <a:rPr lang="en-GB" altLang="nl-NL"/>
              <a:pPr>
                <a:defRPr/>
              </a:pPr>
              <a:t>‹#›</a:t>
            </a:fld>
            <a:endParaRPr lang="en-GB" altLang="nl-NL"/>
          </a:p>
        </p:txBody>
      </p:sp>
    </p:spTree>
    <p:extLst>
      <p:ext uri="{BB962C8B-B14F-4D97-AF65-F5344CB8AC3E}">
        <p14:creationId xmlns:p14="http://schemas.microsoft.com/office/powerpoint/2010/main" val="15471620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67BCC3-012D-4E70-AFD3-3A650BD2C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062D07-DACB-4C04-90DB-96911BA18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C1E2B4-EF6A-4B3A-82E4-8376586D59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13A4C-C5E8-4073-9E66-9D2E2B6B9BD2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08918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CA3744-EE08-422D-897F-F7EA14F06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970F36-8C5B-4A6C-B476-EABF5777E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3E75A5-32DC-469F-8DFD-C6D28767B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11F79-9ACD-4FE1-BBCB-4397D3CFA601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311081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B03F81-3072-44F5-AABE-F5B8D5082C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8CED3E-3B40-417C-B323-C7D9D6A66D8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1AE929-37AB-4A93-91CC-88633BC93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54978962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CD964-F032-4587-B08F-EF1F63314A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4DA019-A70C-404B-9CAB-0932A7A26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C9A23C-17B7-4C81-BB22-F89D25B920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7F5343-9EEE-4089-A776-65D472166347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604501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B6E08E1-7EEF-413D-B256-A90D22944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AB8EA4B-892C-4CE4-876E-5B88D5A228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EF74561-C5DF-4453-9557-A0EBCC6F5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47B9B9-DE55-4CD3-B6CB-CD6B1F7DD18A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974930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D8BE44C-08C1-4810-8FF3-FFF126145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FD88741-1CB8-4E7C-8062-157DBB5E9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887AF53-AF69-45F4-B936-CB06D4A4A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2B8C3-7A5E-4B8F-B07A-BD97281EC258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247832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1E90AF5E-091E-4C22-AB88-CCEE7CAF40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5B7120F6-B210-472B-9927-E702FCFC6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77F64AF-476A-4CB9-92E5-CDA805D87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77DA8-67CD-43C9-840E-9F8FBE62840A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8581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BD9AE0F1-68C7-42F5-9DB0-B08A4D72E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BC8DD50-B41A-4B83-BD47-DE91EB2AD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5D43413-303A-4FE9-A4A8-9F5F3D7D7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92B3E9-F09E-4086-845E-639D16C2AEA2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79725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D16C66-E969-4459-A4FC-A2313B460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4A95CC4-CB4C-4834-9D38-ADD2A1399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3AC6987-1DE6-49AF-9312-ED3E0521EA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4740CF-9FAC-46E8-B8BB-974443406113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794572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46D6909-C634-4830-9935-CDC240E4D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D9B772B-C9C0-4360-AC65-B426C7FB5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2F9243B-E141-401D-84EA-D3E6D414C0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BE1778-3E0B-484A-B74B-FA35F0870FDC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270006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9694F7-A7BA-41BE-8973-AD60B35C7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DD85FE-9C43-4A2B-BB79-59FBCEB039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32D6F1-0578-4770-AD33-4D45A8B25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3906B-7E48-4124-B7A7-1ED0574D17BA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603916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2F60E1-393C-42C6-90DD-331713847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8E988B-96E7-44C4-9C26-E04090F03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1399A4-D484-45DA-ACE3-F82CF6AD8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A9352C-71BE-4B35-B39B-48C8BE2BE486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794225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>
            <a:extLst>
              <a:ext uri="{FF2B5EF4-FFF2-40B4-BE49-F238E27FC236}">
                <a16:creationId xmlns:a16="http://schemas.microsoft.com/office/drawing/2014/main" id="{258818A6-84AD-41B6-BE8C-E92BC0C484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407988"/>
            <a:ext cx="9147175" cy="156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4814" y="2374900"/>
            <a:ext cx="8332787" cy="1144588"/>
          </a:xfrm>
        </p:spPr>
        <p:txBody>
          <a:bodyPr bIns="45718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4814" y="6191251"/>
            <a:ext cx="8332787" cy="417513"/>
          </a:xfrm>
        </p:spPr>
        <p:txBody>
          <a:bodyPr tIns="45718" rIns="91435" bIns="45718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15362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87A7CA-AC60-4995-B346-1C1D1BF0FC80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831975"/>
            <a:ext cx="705802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8B2B1C8F-903B-4247-9977-EF50647940E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838325"/>
            <a:ext cx="84137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70621B-F309-4E2E-BE12-8B05F27A5F4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3975" y="247491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34EE2E4-ED3C-462B-82D9-84ED6A5F685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081338"/>
            <a:ext cx="7058025" cy="55086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9C84B70C-63E8-4CC6-8D02-0D8DEF8957B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2474913"/>
            <a:ext cx="820738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C8D3EAB7-4F76-42D3-BB10-9D651A95C2C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3081338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189794F6-6219-4C5D-AF63-936CC92829F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1209675"/>
            <a:ext cx="705802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chemeClr val="accent1">
                    <a:lumMod val="90000"/>
                    <a:lumOff val="10000"/>
                  </a:schemeClr>
                </a:solidFill>
              </a:rPr>
              <a:t>Text</a:t>
            </a:r>
          </a:p>
        </p:txBody>
      </p:sp>
      <p:sp>
        <p:nvSpPr>
          <p:cNvPr id="10" name="Rectangle 15">
            <a:extLst>
              <a:ext uri="{FF2B5EF4-FFF2-40B4-BE49-F238E27FC236}">
                <a16:creationId xmlns:a16="http://schemas.microsoft.com/office/drawing/2014/main" id="{A55BA2D7-7A8C-4EA5-BF1D-5CDA23C501B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209675"/>
            <a:ext cx="84137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517D0CB7-5714-4E04-A039-74B1A7BA546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4321175"/>
            <a:ext cx="7058025" cy="55086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CFCD6B-11B5-4C30-84FD-7153187AECF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4321175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1CB9B694-4356-4EDC-844B-905733E9C3E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72586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A5203C-BF2F-43EF-9DC0-29DE626174A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8625" y="3725863"/>
            <a:ext cx="819150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D5247196-6F2E-431B-82B3-780B754FDF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510B2A-B989-4300-9E59-16D833B47B2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A687090E-859B-4D0F-82C5-DD14D2327C7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1984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22873557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09444" y="1094240"/>
            <a:ext cx="8710375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Tijdelijke aanduiding voor dianummer 5">
            <a:extLst>
              <a:ext uri="{FF2B5EF4-FFF2-40B4-BE49-F238E27FC236}">
                <a16:creationId xmlns:a16="http://schemas.microsoft.com/office/drawing/2014/main" id="{338B4B6E-4BC1-4206-A6FA-4B809715EE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5C14A8C-1948-4A03-ADE6-1A48221999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6">
            <a:extLst>
              <a:ext uri="{FF2B5EF4-FFF2-40B4-BE49-F238E27FC236}">
                <a16:creationId xmlns:a16="http://schemas.microsoft.com/office/drawing/2014/main" id="{EB43A2FD-2DC2-427C-AAD8-4EF6E4B5E187}"/>
              </a:ext>
            </a:extLst>
          </p:cNvPr>
          <p:cNvSpPr>
            <a:spLocks noGrp="1" noChangeArrowheads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254447517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3086E1-4E62-4E7F-B177-1082D67F3B2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831975"/>
            <a:ext cx="705802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CAAAB95E-FA2E-48C4-AD6B-FCAD985A9C0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838325"/>
            <a:ext cx="84137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62F4BC4-5733-4857-B10F-A817D1DFB46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3975" y="247491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F8369E7-FBA3-4DCA-99B4-423EF5AD233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081338"/>
            <a:ext cx="7058025" cy="55086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FAEF3B6B-8E3D-4F1E-9327-FC103AEA0EC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2474913"/>
            <a:ext cx="820738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91A55122-25DA-49F7-90DA-F81F7BEEE02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3081338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4A207841-52E8-4331-B3C9-E016BFBFCD0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1209675"/>
            <a:ext cx="705802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15">
            <a:extLst>
              <a:ext uri="{FF2B5EF4-FFF2-40B4-BE49-F238E27FC236}">
                <a16:creationId xmlns:a16="http://schemas.microsoft.com/office/drawing/2014/main" id="{5B9E3623-A659-4BFD-BB66-D66218D825D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209675"/>
            <a:ext cx="84137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CC41252F-6450-4BD8-85D2-23D5F4C6C19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4321175"/>
            <a:ext cx="7058025" cy="55086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3B9917-9AC6-4258-A3B3-D7643D94ECA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4321175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655DD302-1A35-4EDC-83FE-A4EAB9AF0AD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72586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E777F4A-9052-41E8-A1E3-FA94CE4B711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8625" y="3725863"/>
            <a:ext cx="819150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08BA1F5E-08B9-48D6-9633-8097572271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2FDD0A-415B-4AA4-BA70-C730CDB3DB3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AE8536D3-4A7B-44A1-B473-1076E3725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16559843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5325584-55C0-40A2-AEC9-E4368D3B7B0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08100" y="2417763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0CA242C8-BBE8-4C4F-B82A-8CBC3FAC653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766888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1D0FD6-68E1-45C0-947D-AAA36604168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3055938"/>
            <a:ext cx="7058025" cy="495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BEEFD492-9F68-401C-8694-A12CB6BBB3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2405063"/>
            <a:ext cx="820738" cy="4953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5D9C01F-292B-453D-9F67-CCBC2AF88A8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1139825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04C27CAA-CAED-48BF-B20C-E1D07D2B3C6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139825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3CE6B325-C2DC-4858-AAED-CD8B9A94E80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3676650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200D5F-7DF3-4E28-98B0-45FAEE16673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3025775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9DF470F9-82B1-4754-805D-ECDC9985958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437832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31A9771-F326-41AA-9380-BFCD2F7D9DF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4813" y="3727450"/>
            <a:ext cx="819150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21CB3BF6-EA8F-41D3-B6B5-B1450B3A653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78117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3F53743-99A2-489A-8DC7-59F02FF998F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1638" y="4430713"/>
            <a:ext cx="819150" cy="528637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3FAF9D57-B956-45CC-9B89-C160442DE85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9213" y="5126038"/>
            <a:ext cx="7058025" cy="55086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E1F4BA7-F57A-432C-8717-99B6AEF62B3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2750" y="5138738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256F2C53-DA59-4D88-9341-CA63869180A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702921-7933-4F6F-9577-7D826C25288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90E3004A-0254-493C-AF59-1D4688F3E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901579373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B9B0C32-1CD4-403D-B8A4-E7F4E70686BC}"/>
              </a:ext>
            </a:extLst>
          </p:cNvPr>
          <p:cNvSpPr/>
          <p:nvPr userDrawn="1"/>
        </p:nvSpPr>
        <p:spPr>
          <a:xfrm>
            <a:off x="746125" y="1420813"/>
            <a:ext cx="7800975" cy="5111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2269B0E5-4487-4868-9B2B-E097727A765E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54025" y="1435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2CEC270-0AD6-43BF-AAB8-32213B562B05}"/>
              </a:ext>
            </a:extLst>
          </p:cNvPr>
          <p:cNvSpPr/>
          <p:nvPr userDrawn="1"/>
        </p:nvSpPr>
        <p:spPr>
          <a:xfrm>
            <a:off x="746125" y="2286000"/>
            <a:ext cx="78009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5383F71D-473B-4F8E-9514-338AFE8E25E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454025" y="23510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0A5B3-A6BB-4810-8CA8-A07D40652BC2}"/>
              </a:ext>
            </a:extLst>
          </p:cNvPr>
          <p:cNvSpPr/>
          <p:nvPr userDrawn="1"/>
        </p:nvSpPr>
        <p:spPr>
          <a:xfrm>
            <a:off x="746125" y="3195638"/>
            <a:ext cx="7800975" cy="5699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9CED24F8-8B4F-4C88-BF87-1654D3AC5CB0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47675" y="32512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83648A-35C5-42B0-91AE-B1D9266CF981}"/>
              </a:ext>
            </a:extLst>
          </p:cNvPr>
          <p:cNvSpPr/>
          <p:nvPr userDrawn="1"/>
        </p:nvSpPr>
        <p:spPr>
          <a:xfrm>
            <a:off x="746125" y="4119563"/>
            <a:ext cx="7800975" cy="54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26C4A887-72BF-4434-AC51-2CA45A5240E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461963" y="4154488"/>
            <a:ext cx="388937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AB3C6A-57B8-4B77-94D0-E5A221A06293}"/>
              </a:ext>
            </a:extLst>
          </p:cNvPr>
          <p:cNvSpPr/>
          <p:nvPr userDrawn="1"/>
        </p:nvSpPr>
        <p:spPr>
          <a:xfrm>
            <a:off x="746125" y="5016500"/>
            <a:ext cx="78009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0DB850E7-58D4-45A6-8ECF-2CF69E04FF0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69900" y="504666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10442B2D-D597-4357-9BFF-BEFA3808C7D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1857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  <p:sp>
        <p:nvSpPr>
          <p:cNvPr id="14" name="Tijdelijke aanduiding voor dianummer 5">
            <a:extLst>
              <a:ext uri="{FF2B5EF4-FFF2-40B4-BE49-F238E27FC236}">
                <a16:creationId xmlns:a16="http://schemas.microsoft.com/office/drawing/2014/main" id="{622E3064-72A3-42DA-A38F-47EF0F4F31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0625" y="206375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73C184BF-3FEA-4405-B253-B706E64A42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901593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842" y="493824"/>
            <a:ext cx="8882858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69142" y="1008763"/>
            <a:ext cx="8750677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2426243" y="1596984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2426243" y="4884939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2426243" y="3240961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234086" y="1596984"/>
            <a:ext cx="2013771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21766" y="3240961"/>
            <a:ext cx="202447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246406" y="4884939"/>
            <a:ext cx="199983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54913496-C922-4C53-B6F5-FDB432A634CE}"/>
              </a:ext>
            </a:extLst>
          </p:cNvPr>
          <p:cNvSpPr>
            <a:spLocks noGrp="1" noChangeArrowheads="1"/>
          </p:cNvSpPr>
          <p:nvPr>
            <p:ph type="sldNum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8DDFA2-E419-467D-938F-71F72C36E5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AA762591-BE57-4CA2-8316-62E1406F8104}"/>
              </a:ext>
            </a:extLst>
          </p:cNvPr>
          <p:cNvSpPr>
            <a:spLocks noGrp="1" noChangeArrowheads="1"/>
          </p:cNvSpPr>
          <p:nvPr>
            <p:ph type="ftr" sz="quarter" idx="2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17015949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54400" y="20880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54400" y="43776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404813" y="20880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403200" y="43776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ACBC086E-E952-447E-8CA0-5EEFF4F5396E}"/>
              </a:ext>
            </a:extLst>
          </p:cNvPr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1BD4FD-9BC6-4EFE-A05B-0DB46700DA6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BCB4FC1C-E735-4858-97DB-D1D97300A689}"/>
              </a:ext>
            </a:extLst>
          </p:cNvPr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75860455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27" y="521882"/>
            <a:ext cx="877373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332646" y="1919652"/>
            <a:ext cx="4201185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790835" y="1919652"/>
            <a:ext cx="4153577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06102" y="1050850"/>
            <a:ext cx="8787638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32646" y="2261652"/>
            <a:ext cx="420118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790884" y="2261652"/>
            <a:ext cx="4153577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8B6384ED-780A-4C03-9566-5F0777B01480}"/>
              </a:ext>
            </a:extLst>
          </p:cNvPr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5AB0DD-3A79-49BE-9BF1-1139583BEC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7B74B6EF-E43F-44C7-9E93-C05391AE3FC5}"/>
              </a:ext>
            </a:extLst>
          </p:cNvPr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97131432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3258000" y="2088000"/>
            <a:ext cx="26352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61020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032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58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6102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1109B45-CE2C-43EE-A39E-1B2257ED15E9}"/>
              </a:ext>
            </a:extLst>
          </p:cNvPr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90C406-4110-42D7-8CC8-AF63412014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24461898-9E23-4E4A-BCF5-BC2B370D9CE4}"/>
              </a:ext>
            </a:extLst>
          </p:cNvPr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02540616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403200" y="2448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403226" y="39132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403226" y="5382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403200" y="3553200"/>
            <a:ext cx="83344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403225" y="5022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ED0F95A8-0F07-4B4D-A43B-290B3EB4614B}"/>
              </a:ext>
            </a:extLst>
          </p:cNvPr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7CD466-D3FF-4D9B-9C2C-3CC8052970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63390DF0-44CE-4200-8E4A-453E0A2AB861}"/>
              </a:ext>
            </a:extLst>
          </p:cNvPr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389599964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TG_BM_RGB">
            <a:extLst>
              <a:ext uri="{FF2B5EF4-FFF2-40B4-BE49-F238E27FC236}">
                <a16:creationId xmlns:a16="http://schemas.microsoft.com/office/drawing/2014/main" id="{919BC389-5E53-452B-A6AF-F052FD8278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0" t="10782" r="9810" b="10782"/>
          <a:stretch>
            <a:fillRect/>
          </a:stretch>
        </p:blipFill>
        <p:spPr bwMode="auto">
          <a:xfrm>
            <a:off x="8543925" y="74613"/>
            <a:ext cx="49053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3" descr="TS_BM_RGB">
            <a:extLst>
              <a:ext uri="{FF2B5EF4-FFF2-40B4-BE49-F238E27FC236}">
                <a16:creationId xmlns:a16="http://schemas.microsoft.com/office/drawing/2014/main" id="{36D21440-AAAF-42B9-89F6-EC8157286D0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2" b="214"/>
          <a:stretch>
            <a:fillRect/>
          </a:stretch>
        </p:blipFill>
        <p:spPr bwMode="auto">
          <a:xfrm>
            <a:off x="141288" y="6608763"/>
            <a:ext cx="1095375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356259" y="6"/>
            <a:ext cx="2647950" cy="296862"/>
          </a:xfrm>
          <a:prstGeom prst="rect">
            <a:avLst/>
          </a:prstGeom>
        </p:spPr>
        <p:txBody>
          <a:bodyPr lIns="83437" tIns="41720" rIns="83437" bIns="41720"/>
          <a:lstStyle>
            <a:lvl1pPr marL="0" indent="0">
              <a:buNone/>
              <a:defRPr sz="11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CB25F36-F873-458D-BC69-3C6454213968}"/>
              </a:ext>
            </a:extLst>
          </p:cNvPr>
          <p:cNvSpPr>
            <a:spLocks noGrp="1" noChangeArrowheads="1"/>
          </p:cNvSpPr>
          <p:nvPr>
            <p:ph type="dt" sz="half" idx="14"/>
          </p:nvPr>
        </p:nvSpPr>
        <p:spPr>
          <a:xfrm>
            <a:off x="7369175" y="6475413"/>
            <a:ext cx="1058863" cy="107950"/>
          </a:xfrm>
          <a:prstGeom prst="rect">
            <a:avLst/>
          </a:prstGeom>
        </p:spPr>
        <p:txBody>
          <a:bodyPr lIns="84491" tIns="42245" rIns="84491" bIns="42245"/>
          <a:lstStyle>
            <a:lvl1pPr eaLnBrk="1" hangingPunct="1"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F327E3-4390-4711-A3F5-B79845171058}"/>
              </a:ext>
            </a:extLst>
          </p:cNvPr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GRRC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7815E216-A41C-45D3-9CEF-B9BC79F577CF}"/>
              </a:ext>
            </a:extLst>
          </p:cNvPr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2AF231-4E58-46B6-9ED5-56CDC71ED4B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107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5562DBD-842A-40A8-98F7-48480B2D4CA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08100" y="2417763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58E5E8D3-093D-41FD-97F8-4B959946B27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766888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776BE21-D8C7-446D-AD31-B64D65C8B61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3055938"/>
            <a:ext cx="7058025" cy="495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B4FBB40E-24E0-461B-88B2-2CB3F547954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2405063"/>
            <a:ext cx="820738" cy="4953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938B2E53-EE8A-4372-BB31-08828C75881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1139825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8B2B992B-E2D7-4071-93E9-A0B2B79DA22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139825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chemeClr val="bg1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60BCB29E-23BD-469F-97A1-A81A17064940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3676650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18003-4B9C-4218-AF0A-531173E38EE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3025775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1136A8AC-9CBA-44F0-BAB0-02052B76914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437832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8380851-6CE1-4E7D-ADE6-2FBF2F17507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4813" y="3727450"/>
            <a:ext cx="819150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A392B5C4-FE7A-4C6E-B1CF-986C61ABA07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78117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B24F64D-78D9-4F98-A1D7-93CDDA2ABC7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1638" y="4430713"/>
            <a:ext cx="819150" cy="528637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0A958E6A-B00B-4173-9F5F-55CB0589B6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9213" y="5126038"/>
            <a:ext cx="7058025" cy="55086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3C760BF-786E-47E3-8E6C-5A1A015ED55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2750" y="5138738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C53FB849-1851-497D-B92B-71AE7DA512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F1430-53FE-491E-8371-6A456C3BE1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C0F76B01-CDBC-4D8A-9860-379DAF8E037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1984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780155105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>
            <a:extLst>
              <a:ext uri="{FF2B5EF4-FFF2-40B4-BE49-F238E27FC236}">
                <a16:creationId xmlns:a16="http://schemas.microsoft.com/office/drawing/2014/main" id="{3373CC5C-6329-49E9-8959-2B66B6C1B3E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4013" y="1562100"/>
            <a:ext cx="1506537" cy="4762500"/>
            <a:chOff x="404813" y="1566716"/>
            <a:chExt cx="1719262" cy="477479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BA4A4BA-87C0-48AA-851D-D86D50AEE0B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769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FFFFFF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3D2E295-EF3B-4082-837D-D8B85CC6BF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2836812"/>
              <a:ext cx="1719262" cy="96610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760">
                <a:defRPr/>
              </a:pPr>
              <a:r>
                <a:rPr lang="en-GB" sz="1500" b="1" dirty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Tex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639232A-42F0-486E-B1D3-6DFB921A1BB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4105316"/>
              <a:ext cx="1719262" cy="9661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592E25C-7E34-4AA1-8C3F-88CD777EC06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5373820"/>
              <a:ext cx="1719262" cy="96769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</p:grpSp>
      <p:sp>
        <p:nvSpPr>
          <p:cNvPr id="9" name="AutoShape 9">
            <a:extLst>
              <a:ext uri="{FF2B5EF4-FFF2-40B4-BE49-F238E27FC236}">
                <a16:creationId xmlns:a16="http://schemas.microsoft.com/office/drawing/2014/main" id="{17325E59-FE54-4BF9-9AD1-02E0DFC4FD2E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2499519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AutoShape 9">
            <a:extLst>
              <a:ext uri="{FF2B5EF4-FFF2-40B4-BE49-F238E27FC236}">
                <a16:creationId xmlns:a16="http://schemas.microsoft.com/office/drawing/2014/main" id="{0B550F1B-CA2E-4C74-97A8-1318B96DB822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6788" y="3805238"/>
            <a:ext cx="309562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AutoShape 9">
            <a:extLst>
              <a:ext uri="{FF2B5EF4-FFF2-40B4-BE49-F238E27FC236}">
                <a16:creationId xmlns:a16="http://schemas.microsoft.com/office/drawing/2014/main" id="{A3CCC138-94E7-4609-A519-D1A50CA6053F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5056982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6A4EE3-CF38-4893-B0D7-D1D5E6A835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152241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9579DA-C82F-4A29-8927-34F7592AB0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277336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6E767E-B959-4340-B5E7-8984739233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5278438"/>
            <a:ext cx="681513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947EEA-4865-48B5-9C55-823381FBAC8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4022725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6093D2D7-C5A3-4D98-A507-C38529A7BA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21F50-D3AD-4D45-B667-C146092C46F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5C69A034-68A0-4F94-AA5B-C05BC6AE6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786112174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E3BA5B0-E7C5-4CAB-9C36-124DAAC77C41}"/>
              </a:ext>
            </a:extLst>
          </p:cNvPr>
          <p:cNvGraphicFramePr>
            <a:graphicFrameLocks noGrp="1"/>
          </p:cNvGraphicFramePr>
          <p:nvPr/>
        </p:nvGraphicFramePr>
        <p:xfrm>
          <a:off x="327025" y="1363663"/>
          <a:ext cx="8320088" cy="5184775"/>
        </p:xfrm>
        <a:graphic>
          <a:graphicData uri="http://schemas.openxmlformats.org/drawingml/2006/table">
            <a:tbl>
              <a:tblPr firstRow="1"/>
              <a:tblGrid>
                <a:gridCol w="313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9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9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8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5254B4F-6EA5-4F6E-AB18-9A9CDCFDB2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1BF438-F999-42A9-9D9D-CCFE136486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2791986A-197D-4CCE-B60D-8F65F1789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36590473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F5A064-C245-49D4-BA48-80B8EFCB249F}"/>
              </a:ext>
            </a:extLst>
          </p:cNvPr>
          <p:cNvSpPr/>
          <p:nvPr userDrawn="1"/>
        </p:nvSpPr>
        <p:spPr>
          <a:xfrm>
            <a:off x="1414463" y="2701925"/>
            <a:ext cx="1057275" cy="5445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A166588-C5C7-495A-B924-C7A3B62BFABD}"/>
              </a:ext>
            </a:extLst>
          </p:cNvPr>
          <p:cNvSpPr/>
          <p:nvPr userDrawn="1"/>
        </p:nvSpPr>
        <p:spPr>
          <a:xfrm>
            <a:off x="2435225" y="3336925"/>
            <a:ext cx="1055688" cy="8080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CE1A0F-69BB-4E72-B30B-13507A2988CA}"/>
              </a:ext>
            </a:extLst>
          </p:cNvPr>
          <p:cNvSpPr/>
          <p:nvPr userDrawn="1"/>
        </p:nvSpPr>
        <p:spPr>
          <a:xfrm>
            <a:off x="3459163" y="4354513"/>
            <a:ext cx="1057275" cy="2019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8FFEF6-D0FE-4C6C-B38F-6F8132A863EE}"/>
              </a:ext>
            </a:extLst>
          </p:cNvPr>
          <p:cNvSpPr/>
          <p:nvPr userDrawn="1"/>
        </p:nvSpPr>
        <p:spPr>
          <a:xfrm>
            <a:off x="393700" y="1492250"/>
            <a:ext cx="8416925" cy="30956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Bent-Up Arrow 20">
            <a:extLst>
              <a:ext uri="{FF2B5EF4-FFF2-40B4-BE49-F238E27FC236}">
                <a16:creationId xmlns:a16="http://schemas.microsoft.com/office/drawing/2014/main" id="{1FDE5FCD-F595-488A-934D-CBFA175746E4}"/>
              </a:ext>
            </a:extLst>
          </p:cNvPr>
          <p:cNvSpPr/>
          <p:nvPr userDrawn="1"/>
        </p:nvSpPr>
        <p:spPr>
          <a:xfrm rot="5400000">
            <a:off x="2397125" y="4189413"/>
            <a:ext cx="1100137" cy="102393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009A74A-9F4A-49E9-A7C9-1B582F0916EF}"/>
              </a:ext>
            </a:extLst>
          </p:cNvPr>
          <p:cNvSpPr/>
          <p:nvPr userDrawn="1"/>
        </p:nvSpPr>
        <p:spPr>
          <a:xfrm>
            <a:off x="1455738" y="1951038"/>
            <a:ext cx="7300912" cy="5794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7EA5FBC-CD15-4AFE-82D8-4812E954715D}"/>
              </a:ext>
            </a:extLst>
          </p:cNvPr>
          <p:cNvSpPr/>
          <p:nvPr userDrawn="1"/>
        </p:nvSpPr>
        <p:spPr>
          <a:xfrm>
            <a:off x="2439988" y="2701925"/>
            <a:ext cx="6316662" cy="5461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ED6D1E-49BA-4FB9-A0FA-DD93A73EB6B9}"/>
              </a:ext>
            </a:extLst>
          </p:cNvPr>
          <p:cNvSpPr/>
          <p:nvPr userDrawn="1"/>
        </p:nvSpPr>
        <p:spPr>
          <a:xfrm>
            <a:off x="3500438" y="3336925"/>
            <a:ext cx="5256212" cy="808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52DFD6-9DA5-434D-9460-235D10E7B48C}"/>
              </a:ext>
            </a:extLst>
          </p:cNvPr>
          <p:cNvSpPr/>
          <p:nvPr userDrawn="1"/>
        </p:nvSpPr>
        <p:spPr>
          <a:xfrm>
            <a:off x="4546600" y="4354513"/>
            <a:ext cx="4210050" cy="20193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3" name="Bent-Up Arrow 25">
            <a:extLst>
              <a:ext uri="{FF2B5EF4-FFF2-40B4-BE49-F238E27FC236}">
                <a16:creationId xmlns:a16="http://schemas.microsoft.com/office/drawing/2014/main" id="{DE052318-FD59-447B-B7CC-8C6086CF3C66}"/>
              </a:ext>
            </a:extLst>
          </p:cNvPr>
          <p:cNvSpPr/>
          <p:nvPr userDrawn="1"/>
        </p:nvSpPr>
        <p:spPr>
          <a:xfrm rot="5400000">
            <a:off x="1473994" y="3190082"/>
            <a:ext cx="901700" cy="1020762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4" name="Bent-Up Arrow 26">
            <a:extLst>
              <a:ext uri="{FF2B5EF4-FFF2-40B4-BE49-F238E27FC236}">
                <a16:creationId xmlns:a16="http://schemas.microsoft.com/office/drawing/2014/main" id="{DE5DDF86-24E2-4CB5-A328-50779B00C986}"/>
              </a:ext>
            </a:extLst>
          </p:cNvPr>
          <p:cNvSpPr/>
          <p:nvPr userDrawn="1"/>
        </p:nvSpPr>
        <p:spPr>
          <a:xfrm rot="5400000">
            <a:off x="545307" y="2377281"/>
            <a:ext cx="717550" cy="1020763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20619A1-876C-45FB-8253-22C9224E4A84}"/>
              </a:ext>
            </a:extLst>
          </p:cNvPr>
          <p:cNvSpPr/>
          <p:nvPr userDrawn="1"/>
        </p:nvSpPr>
        <p:spPr>
          <a:xfrm>
            <a:off x="393700" y="1951038"/>
            <a:ext cx="1057275" cy="5778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C98C7F2C-8FD2-49B5-9E3E-D8AA6C160B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1ED34-ACF3-4431-9375-11004C50B64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9FDFD0DB-F32A-4312-B38F-81987FC26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099007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7CC80CA-799F-4816-AF0D-DBF6139FCB14}"/>
              </a:ext>
            </a:extLst>
          </p:cNvPr>
          <p:cNvGraphicFramePr>
            <a:graphicFrameLocks noGrp="1"/>
          </p:cNvGraphicFramePr>
          <p:nvPr/>
        </p:nvGraphicFramePr>
        <p:xfrm>
          <a:off x="209550" y="1349375"/>
          <a:ext cx="8783638" cy="5062538"/>
        </p:xfrm>
        <a:graphic>
          <a:graphicData uri="http://schemas.openxmlformats.org/drawingml/2006/table">
            <a:tbl>
              <a:tblPr firstRow="1"/>
              <a:tblGrid>
                <a:gridCol w="2650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3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65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Up Arrow 5">
            <a:extLst>
              <a:ext uri="{FF2B5EF4-FFF2-40B4-BE49-F238E27FC236}">
                <a16:creationId xmlns:a16="http://schemas.microsoft.com/office/drawing/2014/main" id="{9080AE4E-08D5-4FB9-BBEF-4FC630BB7F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1879600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6" name="Up Arrow 6">
            <a:extLst>
              <a:ext uri="{FF2B5EF4-FFF2-40B4-BE49-F238E27FC236}">
                <a16:creationId xmlns:a16="http://schemas.microsoft.com/office/drawing/2014/main" id="{B5B35FA1-C206-4C79-93DB-15A1F5FCDE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2833688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7" name="Up Arrow 7">
            <a:extLst>
              <a:ext uri="{FF2B5EF4-FFF2-40B4-BE49-F238E27FC236}">
                <a16:creationId xmlns:a16="http://schemas.microsoft.com/office/drawing/2014/main" id="{0591F046-7961-43ED-A6AF-BC25BDCF3165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4816475" y="2384425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EB5335"/>
          </a:solidFill>
          <a:ln w="19050" algn="ctr">
            <a:solidFill>
              <a:srgbClr val="EB5335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812EC6E-7E02-4854-A3BD-A1D32E5DF0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037342-FF8A-429A-8799-9FC232C6089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37DE76F-1FAA-4B79-A60E-4882178B7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95255389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E33348-A4EA-4FFC-B67B-3571648FE51D}"/>
              </a:ext>
            </a:extLst>
          </p:cNvPr>
          <p:cNvSpPr/>
          <p:nvPr userDrawn="1"/>
        </p:nvSpPr>
        <p:spPr>
          <a:xfrm>
            <a:off x="469900" y="1139825"/>
            <a:ext cx="8499475" cy="5127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27DD992C-74A1-4FB5-9A3D-2D92BFCCCDB0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7800" y="1155700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161461-B6C7-47E2-880F-1D76F8FC4522}"/>
              </a:ext>
            </a:extLst>
          </p:cNvPr>
          <p:cNvSpPr/>
          <p:nvPr userDrawn="1"/>
        </p:nvSpPr>
        <p:spPr>
          <a:xfrm>
            <a:off x="469900" y="2005013"/>
            <a:ext cx="84994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78C65378-5E92-4119-A81B-349F9DBEDF2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79388" y="2070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0B903F-6603-44CD-8CD3-A44F5B79620A}"/>
              </a:ext>
            </a:extLst>
          </p:cNvPr>
          <p:cNvSpPr/>
          <p:nvPr userDrawn="1"/>
        </p:nvSpPr>
        <p:spPr>
          <a:xfrm>
            <a:off x="469900" y="2914650"/>
            <a:ext cx="8499475" cy="571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01571681-20A0-4737-BA9C-21A6B575376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71450" y="297021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2474CE-8235-4295-9DA2-A91D446D5AA1}"/>
              </a:ext>
            </a:extLst>
          </p:cNvPr>
          <p:cNvSpPr/>
          <p:nvPr userDrawn="1"/>
        </p:nvSpPr>
        <p:spPr>
          <a:xfrm>
            <a:off x="469900" y="3838575"/>
            <a:ext cx="8499475" cy="544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5399288B-1A83-4A54-B280-94A60041DE9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85738" y="3875088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E59F26-2396-4C65-A5FF-1E01C025A401}"/>
              </a:ext>
            </a:extLst>
          </p:cNvPr>
          <p:cNvSpPr/>
          <p:nvPr userDrawn="1"/>
        </p:nvSpPr>
        <p:spPr>
          <a:xfrm>
            <a:off x="469900" y="4735513"/>
            <a:ext cx="8499475" cy="49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781C0C09-3078-4F1C-8FE4-A4269352826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93675" y="4765675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23158A-037E-4FE7-9824-3D9E50B8FEFD}"/>
              </a:ext>
            </a:extLst>
          </p:cNvPr>
          <p:cNvSpPr/>
          <p:nvPr userDrawn="1"/>
        </p:nvSpPr>
        <p:spPr>
          <a:xfrm>
            <a:off x="469900" y="5521325"/>
            <a:ext cx="84994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Oval 263">
            <a:extLst>
              <a:ext uri="{FF2B5EF4-FFF2-40B4-BE49-F238E27FC236}">
                <a16:creationId xmlns:a16="http://schemas.microsoft.com/office/drawing/2014/main" id="{A6CBE966-10B3-4873-ACBA-BE638E9D456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93675" y="55514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B5F6AFA9-76BC-46F3-87FD-9B3BA81A24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D974A-110A-4701-A042-D16168D2AC4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C39332D6-8E61-4BAD-914D-47F49D84D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113649150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9A364C7-C577-49B7-9619-8996CA3DBC48}"/>
              </a:ext>
            </a:extLst>
          </p:cNvPr>
          <p:cNvSpPr/>
          <p:nvPr userDrawn="1"/>
        </p:nvSpPr>
        <p:spPr>
          <a:xfrm>
            <a:off x="604838" y="1658938"/>
            <a:ext cx="4594225" cy="6905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5" name="Oval 259">
            <a:extLst>
              <a:ext uri="{FF2B5EF4-FFF2-40B4-BE49-F238E27FC236}">
                <a16:creationId xmlns:a16="http://schemas.microsoft.com/office/drawing/2014/main" id="{1A81D575-CDCD-4E59-B473-36A5139CE49E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85763" y="17716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01A2A7A-9F29-48DE-8008-F60EF9A44859}"/>
              </a:ext>
            </a:extLst>
          </p:cNvPr>
          <p:cNvSpPr/>
          <p:nvPr userDrawn="1"/>
        </p:nvSpPr>
        <p:spPr>
          <a:xfrm>
            <a:off x="604838" y="2524125"/>
            <a:ext cx="4594225" cy="749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Oval 260">
            <a:extLst>
              <a:ext uri="{FF2B5EF4-FFF2-40B4-BE49-F238E27FC236}">
                <a16:creationId xmlns:a16="http://schemas.microsoft.com/office/drawing/2014/main" id="{4392B16C-B0A1-4242-890B-A170DA5CC8E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85763" y="26733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DDAD48-F0B8-49D0-A5FB-A56107360C8C}"/>
              </a:ext>
            </a:extLst>
          </p:cNvPr>
          <p:cNvSpPr/>
          <p:nvPr userDrawn="1"/>
        </p:nvSpPr>
        <p:spPr>
          <a:xfrm>
            <a:off x="604838" y="3433763"/>
            <a:ext cx="4594225" cy="768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9" name="Oval 261">
            <a:extLst>
              <a:ext uri="{FF2B5EF4-FFF2-40B4-BE49-F238E27FC236}">
                <a16:creationId xmlns:a16="http://schemas.microsoft.com/office/drawing/2014/main" id="{80D7DBFC-F070-40C9-B4AC-F523C7D6D48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79413" y="35877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D81B31-F0ED-4D12-A0E0-388DEC76B4A9}"/>
              </a:ext>
            </a:extLst>
          </p:cNvPr>
          <p:cNvSpPr/>
          <p:nvPr userDrawn="1"/>
        </p:nvSpPr>
        <p:spPr>
          <a:xfrm>
            <a:off x="604838" y="4357688"/>
            <a:ext cx="4594225" cy="7334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1" name="Oval 262">
            <a:extLst>
              <a:ext uri="{FF2B5EF4-FFF2-40B4-BE49-F238E27FC236}">
                <a16:creationId xmlns:a16="http://schemas.microsoft.com/office/drawing/2014/main" id="{EDE637DA-F976-4A91-87F8-A7211AC0A70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392113" y="4492625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65CD2B-1AC4-4023-AE31-48FC1E9DB520}"/>
              </a:ext>
            </a:extLst>
          </p:cNvPr>
          <p:cNvSpPr/>
          <p:nvPr userDrawn="1"/>
        </p:nvSpPr>
        <p:spPr>
          <a:xfrm>
            <a:off x="604838" y="5254625"/>
            <a:ext cx="4594225" cy="665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3" name="Oval 263">
            <a:extLst>
              <a:ext uri="{FF2B5EF4-FFF2-40B4-BE49-F238E27FC236}">
                <a16:creationId xmlns:a16="http://schemas.microsoft.com/office/drawing/2014/main" id="{7A66E47C-2B1A-44BA-8AE9-61C9DF5668A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63538" y="5341938"/>
            <a:ext cx="409575" cy="46513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42FDD02-7531-43FB-95D9-406C8477CA5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1668463"/>
            <a:ext cx="1674813" cy="688975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77479A-D8C6-4F1E-AF9D-37E1D57822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2533650"/>
            <a:ext cx="1674813" cy="74771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D9CEB28-6739-43AD-BF65-78DBC7DC4F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3441700"/>
            <a:ext cx="1674813" cy="769938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941253-45C3-495A-B1D3-6EE7F5B134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4367213"/>
            <a:ext cx="1674813" cy="731837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3048BA2-8E64-434B-B532-881DAF7F869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5264150"/>
            <a:ext cx="1674813" cy="66516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158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39AFA5A-0449-4D45-ABB0-F20C721640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1668463"/>
            <a:ext cx="1674812" cy="688975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527020-1183-4FF2-81C8-FE1D5FC3E07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2533650"/>
            <a:ext cx="1674812" cy="74771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016FE4B-F58A-4FD6-B4D7-F2FF8C20DE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3441700"/>
            <a:ext cx="1674812" cy="769938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8D2070-A660-426F-B369-73A8451EF6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4367213"/>
            <a:ext cx="1674812" cy="731837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595D35-64A5-4ABC-8A4C-8B28353D1A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5264150"/>
            <a:ext cx="1674812" cy="66516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9C48556-7FCA-43FB-B750-243C28D6DCF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56250" y="1306513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C59ECE5-D7FB-4F54-892B-9EB3B95A884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6950" y="1290638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AD599C-6AC9-49AD-8A76-338827D9457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838" y="1306513"/>
            <a:ext cx="1227137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90E7D7BD-EFEC-4215-A74F-14D1EA2B01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BF810A-6818-4A37-9780-32D2727DE72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2205202D-F8F6-41A6-8E35-CC08B0B87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50040682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1E2AC68-EC60-426F-B7BC-70ADB2D2CFC1}"/>
              </a:ext>
            </a:extLst>
          </p:cNvPr>
          <p:cNvGraphicFramePr>
            <a:graphicFrameLocks/>
          </p:cNvGraphicFramePr>
          <p:nvPr/>
        </p:nvGraphicFramePr>
        <p:xfrm>
          <a:off x="393700" y="1463675"/>
          <a:ext cx="8366125" cy="5183188"/>
        </p:xfrm>
        <a:graphic>
          <a:graphicData uri="http://schemas.openxmlformats.org/drawingml/2006/table">
            <a:tbl>
              <a:tblPr firstRow="1" bandRow="1"/>
              <a:tblGrid>
                <a:gridCol w="394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368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5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31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14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55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02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357C439-DB80-4655-A889-9D21224B96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47A6CA-72A8-4185-BE53-A7C183E8E6E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C91E9EB-419D-46D8-9058-764212017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38493070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8D343A6-3327-402C-8C01-534A5C0ECCBD}"/>
              </a:ext>
            </a:extLst>
          </p:cNvPr>
          <p:cNvGraphicFramePr>
            <a:graphicFrameLocks noGrp="1"/>
          </p:cNvGraphicFramePr>
          <p:nvPr/>
        </p:nvGraphicFramePr>
        <p:xfrm>
          <a:off x="393700" y="1401763"/>
          <a:ext cx="8353425" cy="2347912"/>
        </p:xfrm>
        <a:graphic>
          <a:graphicData uri="http://schemas.openxmlformats.org/drawingml/2006/table">
            <a:tbl>
              <a:tblPr/>
              <a:tblGrid>
                <a:gridCol w="1517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8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15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49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26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329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7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5" name="Group 10">
            <a:extLst>
              <a:ext uri="{FF2B5EF4-FFF2-40B4-BE49-F238E27FC236}">
                <a16:creationId xmlns:a16="http://schemas.microsoft.com/office/drawing/2014/main" id="{094E9B0F-4714-416D-B998-A9BD5AFC268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98463" y="4192588"/>
            <a:ext cx="8361362" cy="2232025"/>
            <a:chOff x="123367" y="5147491"/>
            <a:chExt cx="8864071" cy="1583827"/>
          </a:xfrm>
        </p:grpSpPr>
        <p:sp>
          <p:nvSpPr>
            <p:cNvPr id="6" name="Tijdelijke aanduiding voor verticale tekst 24">
              <a:extLst>
                <a:ext uri="{FF2B5EF4-FFF2-40B4-BE49-F238E27FC236}">
                  <a16:creationId xmlns:a16="http://schemas.microsoft.com/office/drawing/2014/main" id="{430B4535-385F-4669-9CF0-BF826178AD21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405454"/>
              <a:ext cx="8864071" cy="1325864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50" lvl="1">
                <a:buFont typeface="Wingdings" pitchFamily="2" charset="2"/>
                <a:buChar char="§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Text</a:t>
              </a:r>
              <a:endParaRPr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7" name="Tijdelijke aanduiding voor verticale tekst 25">
              <a:extLst>
                <a:ext uri="{FF2B5EF4-FFF2-40B4-BE49-F238E27FC236}">
                  <a16:creationId xmlns:a16="http://schemas.microsoft.com/office/drawing/2014/main" id="{6FED1828-98D8-426B-B0C5-8B7C98056396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147491"/>
              <a:ext cx="8864071" cy="257963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none" lIns="180000" tIns="72000" rIns="216000" anchor="ctr"/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2082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32DB96B-FDDC-48BC-B5F0-7D89769B43DD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3859213"/>
          <a:ext cx="8382000" cy="219075"/>
        </p:xfrm>
        <a:graphic>
          <a:graphicData uri="http://schemas.openxmlformats.org/drawingml/2006/table">
            <a:tbl>
              <a:tblPr/>
              <a:tblGrid>
                <a:gridCol w="2095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55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1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94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8869" marR="8869" marT="965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D5EE92EB-C06D-4676-BB96-9085450B00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CA5AB-1978-42DE-A407-C59AD1B99FE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21C56883-B1EC-4983-954C-3BD417FAC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78636866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4">
            <a:extLst>
              <a:ext uri="{FF2B5EF4-FFF2-40B4-BE49-F238E27FC236}">
                <a16:creationId xmlns:a16="http://schemas.microsoft.com/office/drawing/2014/main" id="{971DD0ED-2E1D-429B-B4EE-211DD212F790}"/>
              </a:ext>
            </a:extLst>
          </p:cNvPr>
          <p:cNvSpPr/>
          <p:nvPr userDrawn="1"/>
        </p:nvSpPr>
        <p:spPr bwMode="auto">
          <a:xfrm>
            <a:off x="4508500" y="1598613"/>
            <a:ext cx="4435475" cy="4967287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Pentagon 5">
            <a:extLst>
              <a:ext uri="{FF2B5EF4-FFF2-40B4-BE49-F238E27FC236}">
                <a16:creationId xmlns:a16="http://schemas.microsoft.com/office/drawing/2014/main" id="{6A52CB59-BB77-49BB-A971-707B858304B2}"/>
              </a:ext>
            </a:extLst>
          </p:cNvPr>
          <p:cNvSpPr/>
          <p:nvPr userDrawn="1"/>
        </p:nvSpPr>
        <p:spPr bwMode="auto">
          <a:xfrm>
            <a:off x="233363" y="1598613"/>
            <a:ext cx="4460875" cy="4967287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18419" y="1106955"/>
            <a:ext cx="872604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2840DF09-55AD-4DF5-BE64-69CBAF1614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BFECDD-7F73-4FC3-9AC1-ECEF4F91250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009BD8C-BB87-4421-9D78-6482B7B3BB2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478634901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9144BD92-B910-4EBC-BBFC-D2977F7F150B}"/>
              </a:ext>
            </a:extLst>
          </p:cNvPr>
          <p:cNvGraphicFramePr/>
          <p:nvPr userDrawn="1"/>
        </p:nvGraphicFramePr>
        <p:xfrm>
          <a:off x="402863" y="1585246"/>
          <a:ext cx="4833219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0C27D21-C3FF-4B6F-A518-AC28E23C64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3194050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BF73E5-141F-44C0-810B-4544FE6B99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566863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FE3E94-77D9-4EFF-B48A-AFF156586BA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4821238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ECB7F247-DB6E-4E9F-BBC5-99BF487347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3544A-720C-4681-871D-66144343D01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34433B0A-8B7D-4F86-8BC3-06E1CAEC63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71349058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B2D36A-92F3-483A-BE76-FC9FC88261CC}"/>
              </a:ext>
            </a:extLst>
          </p:cNvPr>
          <p:cNvSpPr/>
          <p:nvPr userDrawn="1"/>
        </p:nvSpPr>
        <p:spPr>
          <a:xfrm>
            <a:off x="746125" y="1420813"/>
            <a:ext cx="7800975" cy="5111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130C1741-5FEB-49F2-98C7-F2384E1369BE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54025" y="1435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44184A-711F-4AAF-8FE4-82ED101606B7}"/>
              </a:ext>
            </a:extLst>
          </p:cNvPr>
          <p:cNvSpPr/>
          <p:nvPr userDrawn="1"/>
        </p:nvSpPr>
        <p:spPr>
          <a:xfrm>
            <a:off x="746125" y="2286000"/>
            <a:ext cx="78009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5D2732F8-C770-45C4-B036-E77206A59D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454025" y="23510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533F6E-AB55-4690-B222-13F9216742AC}"/>
              </a:ext>
            </a:extLst>
          </p:cNvPr>
          <p:cNvSpPr/>
          <p:nvPr userDrawn="1"/>
        </p:nvSpPr>
        <p:spPr>
          <a:xfrm>
            <a:off x="746125" y="3195638"/>
            <a:ext cx="7800975" cy="5699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89C51E0A-FF27-4524-8651-E2B9F5E8C86E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47675" y="32512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CE01ADB-1050-4409-A8D3-C29578255486}"/>
              </a:ext>
            </a:extLst>
          </p:cNvPr>
          <p:cNvSpPr/>
          <p:nvPr userDrawn="1"/>
        </p:nvSpPr>
        <p:spPr>
          <a:xfrm>
            <a:off x="746125" y="4119563"/>
            <a:ext cx="7800975" cy="54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9005F9C3-D6E3-4C1F-BF75-763D814D2A4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461963" y="4154488"/>
            <a:ext cx="388937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2415B3-1A27-474C-89FB-E247A2DCE668}"/>
              </a:ext>
            </a:extLst>
          </p:cNvPr>
          <p:cNvSpPr/>
          <p:nvPr userDrawn="1"/>
        </p:nvSpPr>
        <p:spPr>
          <a:xfrm>
            <a:off x="746125" y="5016500"/>
            <a:ext cx="78009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/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04C232F6-11F9-4481-8600-7409D97F2F0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69900" y="504666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ED1C916E-5DB3-49D6-9FD5-B419D3AFBA4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1857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  <p:sp>
        <p:nvSpPr>
          <p:cNvPr id="14" name="Tijdelijke aanduiding voor dianummer 5">
            <a:extLst>
              <a:ext uri="{FF2B5EF4-FFF2-40B4-BE49-F238E27FC236}">
                <a16:creationId xmlns:a16="http://schemas.microsoft.com/office/drawing/2014/main" id="{543B80B9-43EA-4E3E-9976-0E5833D5E9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0625" y="206375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3F5E9869-32B3-4925-98BF-A6407F0548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07717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EA10542-7FE7-4ABA-B525-A5EA43257A7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1493838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2850F7-9C4B-453E-BE89-18EBBE4A1D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24150" y="15033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C86877-EA67-4482-B9D0-AB3922722B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41195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66313EC-DC50-4641-9854-0B3F274C7983}"/>
              </a:ext>
            </a:extLst>
          </p:cNvPr>
          <p:cNvSpPr/>
          <p:nvPr userDrawn="1"/>
        </p:nvSpPr>
        <p:spPr>
          <a:xfrm rot="425343">
            <a:off x="2832100" y="4198938"/>
            <a:ext cx="2143125" cy="24415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46B234D-820C-4E85-B38F-3BA7D6D20AD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482725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FB7DCCF-4D07-4343-B9E6-B9D53D9EE4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D118C-931B-4D07-B0D7-A3B97FD845C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8AA8F58F-FC7F-4728-BE9C-9FBB34937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00258556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434AB8-B9E7-4DA1-A144-608575462E76}"/>
              </a:ext>
            </a:extLst>
          </p:cNvPr>
          <p:cNvSpPr/>
          <p:nvPr userDrawn="1"/>
        </p:nvSpPr>
        <p:spPr>
          <a:xfrm>
            <a:off x="134938" y="1646238"/>
            <a:ext cx="2843212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A3B38F8-F4FA-4F09-8E04-18FF6CB0F0C1}"/>
              </a:ext>
            </a:extLst>
          </p:cNvPr>
          <p:cNvCxnSpPr/>
          <p:nvPr userDrawn="1"/>
        </p:nvCxnSpPr>
        <p:spPr>
          <a:xfrm>
            <a:off x="3013075" y="16335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49567B-92BB-4B4A-A643-255C196472F1}"/>
              </a:ext>
            </a:extLst>
          </p:cNvPr>
          <p:cNvCxnSpPr/>
          <p:nvPr userDrawn="1"/>
        </p:nvCxnSpPr>
        <p:spPr>
          <a:xfrm>
            <a:off x="6059488" y="16462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2676EA4F-83AA-4033-8FC7-F318C89E159C}"/>
              </a:ext>
            </a:extLst>
          </p:cNvPr>
          <p:cNvSpPr/>
          <p:nvPr userDrawn="1"/>
        </p:nvSpPr>
        <p:spPr>
          <a:xfrm>
            <a:off x="114300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672CA6-92CA-4A77-87DD-0087E2F00B8A}"/>
              </a:ext>
            </a:extLst>
          </p:cNvPr>
          <p:cNvSpPr/>
          <p:nvPr userDrawn="1"/>
        </p:nvSpPr>
        <p:spPr>
          <a:xfrm>
            <a:off x="134938" y="3384550"/>
            <a:ext cx="8823325" cy="3603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buClr>
                <a:srgbClr val="3D7EDB"/>
              </a:buClr>
              <a:defRPr/>
            </a:pPr>
            <a:r>
              <a:rPr lang="en-GB" sz="15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073A7E-050C-4B80-AA1E-4CA29156BBB3}"/>
              </a:ext>
            </a:extLst>
          </p:cNvPr>
          <p:cNvSpPr/>
          <p:nvPr userDrawn="1"/>
        </p:nvSpPr>
        <p:spPr>
          <a:xfrm>
            <a:off x="123825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DD1CB6-BD2B-41BE-8F49-9C64C0CAC0D9}"/>
              </a:ext>
            </a:extLst>
          </p:cNvPr>
          <p:cNvSpPr/>
          <p:nvPr userDrawn="1"/>
        </p:nvSpPr>
        <p:spPr>
          <a:xfrm>
            <a:off x="3074988" y="1646238"/>
            <a:ext cx="2954337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CD07B5-1E61-43E7-8C2B-B36F2DB3437D}"/>
              </a:ext>
            </a:extLst>
          </p:cNvPr>
          <p:cNvSpPr/>
          <p:nvPr userDrawn="1"/>
        </p:nvSpPr>
        <p:spPr>
          <a:xfrm>
            <a:off x="3054350" y="3886200"/>
            <a:ext cx="2952750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2BA0C0-1CD2-40DF-BD09-F3BFA4305D89}"/>
              </a:ext>
            </a:extLst>
          </p:cNvPr>
          <p:cNvSpPr/>
          <p:nvPr userDrawn="1"/>
        </p:nvSpPr>
        <p:spPr>
          <a:xfrm>
            <a:off x="3062288" y="2073275"/>
            <a:ext cx="2954337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A23FA0-1C93-488B-9E07-A2DAD676C7A2}"/>
              </a:ext>
            </a:extLst>
          </p:cNvPr>
          <p:cNvSpPr/>
          <p:nvPr userDrawn="1"/>
        </p:nvSpPr>
        <p:spPr>
          <a:xfrm>
            <a:off x="6137275" y="1646238"/>
            <a:ext cx="2843213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016C09-060A-484F-A24B-4F62C4FC72C5}"/>
              </a:ext>
            </a:extLst>
          </p:cNvPr>
          <p:cNvSpPr/>
          <p:nvPr userDrawn="1"/>
        </p:nvSpPr>
        <p:spPr>
          <a:xfrm>
            <a:off x="6116638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C58326-BBD5-4922-A07E-22CD98ACE397}"/>
              </a:ext>
            </a:extLst>
          </p:cNvPr>
          <p:cNvSpPr/>
          <p:nvPr userDrawn="1"/>
        </p:nvSpPr>
        <p:spPr>
          <a:xfrm>
            <a:off x="6126163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8A963157-D1ED-413C-83E5-63E618F1D2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670C09-B784-416E-9437-6D0A4DEE1B6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BCADCE51-325E-4DD6-A677-C41E90D5CB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414264624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17E40C4-A865-4C3D-A7E0-F4BA897ABF7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28587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BC852A1-32AA-4C86-8588-5E002B6212E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922463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9FF9ED-5830-49D3-BF3A-EF3D1F5377B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2557463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8D6AC7E-9018-4F4B-A1E3-131DABA25F1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830638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942F80F1-5914-44D2-AFCC-E9371223193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194050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D3716162-FD08-406B-90D6-A946EABD05D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4465638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864CBA44-EE00-44C3-85BB-8D501232144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510222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DDD1CA6-655B-496D-B998-887F3CD586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9D566-BD3D-4E10-955D-6F8094EF66B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093310D2-1F2E-4728-97BF-2B54DF9D5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155518104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695B1EF4-F1DA-4999-A4BD-DA16F65D3CCA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433513" y="1435100"/>
            <a:ext cx="72342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9480721-7116-423B-B6FA-42C39384ACC1}"/>
              </a:ext>
            </a:extLst>
          </p:cNvPr>
          <p:cNvSpPr/>
          <p:nvPr userDrawn="1"/>
        </p:nvSpPr>
        <p:spPr>
          <a:xfrm>
            <a:off x="711200" y="1373188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Content Placeholder 22">
            <a:extLst>
              <a:ext uri="{FF2B5EF4-FFF2-40B4-BE49-F238E27FC236}">
                <a16:creationId xmlns:a16="http://schemas.microsoft.com/office/drawing/2014/main" id="{E28A3339-2CDA-41CE-86E5-B7D0350A9B5A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814513" y="2917825"/>
            <a:ext cx="68151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BCA8FD8-C0CF-4295-8245-B788970D0B9C}"/>
              </a:ext>
            </a:extLst>
          </p:cNvPr>
          <p:cNvSpPr/>
          <p:nvPr userDrawn="1"/>
        </p:nvSpPr>
        <p:spPr>
          <a:xfrm>
            <a:off x="1092200" y="285591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2EAB5CBE-1DC7-4B38-AA79-0AACA3C85C94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503363" y="4475163"/>
            <a:ext cx="713898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7EA4947-D2B0-4F20-A506-7D68A4531F10}"/>
              </a:ext>
            </a:extLst>
          </p:cNvPr>
          <p:cNvSpPr/>
          <p:nvPr userDrawn="1"/>
        </p:nvSpPr>
        <p:spPr>
          <a:xfrm>
            <a:off x="781050" y="441166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451586CB-28C3-423C-97BF-B7E37896A5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028B4-005A-473A-B34F-5F747250C83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F415CF03-CC1D-4573-8A73-90E715738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94313425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1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ijdelijke aanduiding voor dianummer 5">
            <a:extLst>
              <a:ext uri="{FF2B5EF4-FFF2-40B4-BE49-F238E27FC236}">
                <a16:creationId xmlns:a16="http://schemas.microsoft.com/office/drawing/2014/main" id="{8EDBDCC5-A914-40A3-BB50-92C9E2D5F8C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4ED0807F-43C7-46D2-AF2C-194BBBE7F2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423292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>
            <a:extLst>
              <a:ext uri="{FF2B5EF4-FFF2-40B4-BE49-F238E27FC236}">
                <a16:creationId xmlns:a16="http://schemas.microsoft.com/office/drawing/2014/main" id="{D17A2A05-8253-45E3-B9D4-CCC1065208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407988"/>
            <a:ext cx="9147175" cy="156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4814" y="2374900"/>
            <a:ext cx="8332787" cy="1144588"/>
          </a:xfrm>
        </p:spPr>
        <p:txBody>
          <a:bodyPr bIns="45718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4814" y="6191251"/>
            <a:ext cx="8332787" cy="417513"/>
          </a:xfrm>
        </p:spPr>
        <p:txBody>
          <a:bodyPr tIns="45718" rIns="91435" bIns="45718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51108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09444" y="1094240"/>
            <a:ext cx="8710375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C0573422-2BD8-4683-9589-7F5CDE3F03EC}"/>
              </a:ext>
            </a:extLst>
          </p:cNvPr>
          <p:cNvSpPr>
            <a:spLocks noGrp="1" noChangeArrowheads="1"/>
          </p:cNvSpPr>
          <p:nvPr>
            <p:ph type="ftr" sz="quarter" idx="16"/>
          </p:nvPr>
        </p:nvSpPr>
        <p:spPr>
          <a:xfrm>
            <a:off x="1984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2AD065EC-36E6-4142-946D-E13A826D8D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FA746803-18D8-4BBF-B3AC-D6289574B2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30305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16EEF55-A55B-43CB-B6BE-F1244E10804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831975"/>
            <a:ext cx="705802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88B01211-BD27-4C32-B4BD-1053AC0C143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838325"/>
            <a:ext cx="84137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3D2BBD-6125-4259-8754-26A18E68EEA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3975" y="247491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5E1B7BE-9695-491A-9B36-8AC6F4EAA3D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081338"/>
            <a:ext cx="7058025" cy="55086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746978D1-6FED-4961-9D37-D07430E40E7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2474913"/>
            <a:ext cx="820738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B2ED95AC-2CD9-4C72-B468-2AB1D5EB330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3081338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41336B7A-1F07-427B-948C-DDDF7E4624E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1209675"/>
            <a:ext cx="705802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15">
            <a:extLst>
              <a:ext uri="{FF2B5EF4-FFF2-40B4-BE49-F238E27FC236}">
                <a16:creationId xmlns:a16="http://schemas.microsoft.com/office/drawing/2014/main" id="{013D95C2-B409-4F9E-B97F-F474010BA34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209675"/>
            <a:ext cx="84137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379701EF-F3A0-4CF7-868B-65A9A924F61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4321175"/>
            <a:ext cx="7058025" cy="55086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EDDED2-DA60-4243-9168-AD0E6A89AD7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4321175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6801D766-B8D4-4AD4-B248-947D12C33D1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72586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23682B-DF6D-42D2-97A7-3A9A1CCE5D7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8625" y="3725863"/>
            <a:ext cx="819150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37825DD1-9F3C-4A0F-8195-164E3B6B8E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DE7C3-9CE6-4D5E-9BEF-43095796035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5EF9F13F-5996-4355-BE83-0DBE5A1CDC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80693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AC4E37D-BDC1-4493-93D3-A9528853DDC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08100" y="2417763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F4D590A2-757C-46FB-AD88-F750B8959BC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766888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0535DD6-86AD-4FDC-80B7-7B3BDAF3912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3055938"/>
            <a:ext cx="7058025" cy="495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8FC7D2C1-3E20-404E-B746-3928D692DE49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2405063"/>
            <a:ext cx="820738" cy="4953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07C8F19E-89CF-422B-9C88-FDB882F6871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1139825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257CD4D6-F829-4811-8295-887E667C31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139825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2E3C0E3F-13D9-4E35-B437-EFBB8C9FB3B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3676650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B265B-09AD-49EF-81B1-B510D1B31BF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3025775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91711215-1A93-4557-94A3-F4D99E6F367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437832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49F67B8-973C-4CE7-BE78-5F4765CE59D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4813" y="3727450"/>
            <a:ext cx="819150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D8D0D9F2-C745-4494-9F3C-67780B0685F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78117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67D653-63DD-4E5C-92A4-E882171DBE3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1638" y="4430713"/>
            <a:ext cx="819150" cy="528637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EE0B8184-4C8F-4063-9AC1-E19FBE5BD3F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9213" y="5126038"/>
            <a:ext cx="7058025" cy="55086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6CB6F5-67AA-4BB9-9A1C-F41757232A9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2750" y="5138738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6679433D-3C3E-43CD-A253-7CAB2658A6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3F987F-BF27-46C9-9E3E-DAECDF18A2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8B97D72-0F0E-456D-AF72-C4A0C5AE3B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71337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843F86-3BA7-4C6A-ADAD-F7E537604856}"/>
              </a:ext>
            </a:extLst>
          </p:cNvPr>
          <p:cNvSpPr/>
          <p:nvPr userDrawn="1"/>
        </p:nvSpPr>
        <p:spPr>
          <a:xfrm>
            <a:off x="746125" y="1420813"/>
            <a:ext cx="7800975" cy="5111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E4A0D4BE-A690-45A3-BA21-397BDF89EA6E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54025" y="1435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D6A10E5-53B3-4561-A62F-457F2816EE70}"/>
              </a:ext>
            </a:extLst>
          </p:cNvPr>
          <p:cNvSpPr/>
          <p:nvPr userDrawn="1"/>
        </p:nvSpPr>
        <p:spPr>
          <a:xfrm>
            <a:off x="746125" y="2286000"/>
            <a:ext cx="78009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DADF49B6-7CB6-4CE8-951C-DDAE522723F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454025" y="23510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958FE07-787E-4699-A8BE-500D94BC1693}"/>
              </a:ext>
            </a:extLst>
          </p:cNvPr>
          <p:cNvSpPr/>
          <p:nvPr userDrawn="1"/>
        </p:nvSpPr>
        <p:spPr>
          <a:xfrm>
            <a:off x="746125" y="3195638"/>
            <a:ext cx="7800975" cy="5699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D3194D83-5F84-4068-9809-081B8881C91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47675" y="32512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413BCF-75E7-4C7C-99F4-65BCA03F846F}"/>
              </a:ext>
            </a:extLst>
          </p:cNvPr>
          <p:cNvSpPr/>
          <p:nvPr userDrawn="1"/>
        </p:nvSpPr>
        <p:spPr>
          <a:xfrm>
            <a:off x="746125" y="4119563"/>
            <a:ext cx="7800975" cy="54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8A9A820C-A684-4CCC-856F-A81E6BCA336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461963" y="4154488"/>
            <a:ext cx="388937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F276C34-AB9E-4F15-B377-312A266F7A02}"/>
              </a:ext>
            </a:extLst>
          </p:cNvPr>
          <p:cNvSpPr/>
          <p:nvPr userDrawn="1"/>
        </p:nvSpPr>
        <p:spPr>
          <a:xfrm>
            <a:off x="746125" y="5016500"/>
            <a:ext cx="78009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10A11732-85B9-4A74-BE59-FABB62B1150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69900" y="504666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970C5F2F-8D2E-4B17-A1A0-6B5D98AC3F7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1857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14" name="Tijdelijke aanduiding voor dianummer 5">
            <a:extLst>
              <a:ext uri="{FF2B5EF4-FFF2-40B4-BE49-F238E27FC236}">
                <a16:creationId xmlns:a16="http://schemas.microsoft.com/office/drawing/2014/main" id="{5D952A47-B332-417A-BFC3-C116DC4A96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0625" y="206375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C9F0A71-942E-43D7-939C-5222B2F74D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72450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842" y="493824"/>
            <a:ext cx="8882858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69142" y="1008763"/>
            <a:ext cx="8750677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2426243" y="1596984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2426243" y="4884939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2426243" y="3240961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234086" y="1596984"/>
            <a:ext cx="2013771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21766" y="3240961"/>
            <a:ext cx="202447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246406" y="4884939"/>
            <a:ext cx="199983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A28BBA4B-B176-41AD-A566-230F28F58B3A}"/>
              </a:ext>
            </a:extLst>
          </p:cNvPr>
          <p:cNvSpPr>
            <a:spLocks noGrp="1" noChangeArrowheads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E917C0-DFCD-45D0-A51E-8400983BE49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9D20C306-15D3-4839-ABC4-03935397F829}"/>
              </a:ext>
            </a:extLst>
          </p:cNvPr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2972941851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842" y="493824"/>
            <a:ext cx="8882858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69142" y="1008763"/>
            <a:ext cx="8750677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2426243" y="1596984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2426243" y="4884939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2426243" y="3240961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234086" y="1596984"/>
            <a:ext cx="2013771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21766" y="3240961"/>
            <a:ext cx="202447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246406" y="4884939"/>
            <a:ext cx="199983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24022905-EFEC-470E-AF52-4065EA02F60A}"/>
              </a:ext>
            </a:extLst>
          </p:cNvPr>
          <p:cNvSpPr>
            <a:spLocks noGrp="1" noChangeArrowheads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3713F-6105-4E2F-8DE2-0B0E28A2BEB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F942CEFF-26A2-44CA-8C76-1EB4B808702E}"/>
              </a:ext>
            </a:extLst>
          </p:cNvPr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</a:p>
        </p:txBody>
      </p:sp>
    </p:spTree>
    <p:extLst>
      <p:ext uri="{BB962C8B-B14F-4D97-AF65-F5344CB8AC3E}">
        <p14:creationId xmlns:p14="http://schemas.microsoft.com/office/powerpoint/2010/main" val="3969432853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54400" y="20880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54400" y="43776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404813" y="20880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403200" y="43776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55ED387-A1F8-400A-A7AA-423328E890CF}"/>
              </a:ext>
            </a:extLst>
          </p:cNvPr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061AC6-8A06-4DC7-B655-E06F72F60ED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47E3C05-4B86-4EAB-A8CE-C578D3A07A58}"/>
              </a:ext>
            </a:extLst>
          </p:cNvPr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029950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27" y="521882"/>
            <a:ext cx="877373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332646" y="1919652"/>
            <a:ext cx="4201185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790835" y="1919652"/>
            <a:ext cx="4153577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06102" y="1050850"/>
            <a:ext cx="8787638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32646" y="2261652"/>
            <a:ext cx="420118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790884" y="2261652"/>
            <a:ext cx="4153577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FD40F56-A28C-4424-981E-4472A5A24D8C}"/>
              </a:ext>
            </a:extLst>
          </p:cNvPr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A13A04-481D-4EA5-9ACD-852AE6865CF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21B86ADA-B807-48C6-BD10-8417C0CEB48C}"/>
              </a:ext>
            </a:extLst>
          </p:cNvPr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2703354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3258000" y="2088000"/>
            <a:ext cx="26352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61020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032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58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6102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EA47237-310C-4881-BA7F-E7442CD96923}"/>
              </a:ext>
            </a:extLst>
          </p:cNvPr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3939D9-8AD6-45D8-BE5F-98C0BA6E092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D8646E3F-1516-4C5A-9F17-9BF71F2673FE}"/>
              </a:ext>
            </a:extLst>
          </p:cNvPr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590266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403200" y="2448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403226" y="39132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403226" y="5382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403200" y="3553200"/>
            <a:ext cx="83344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403225" y="5022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60A273A7-D752-4DDA-A4D3-B6EE3AC100A9}"/>
              </a:ext>
            </a:extLst>
          </p:cNvPr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26408A-44A2-4B0E-82AA-784081287EA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9BDEB01C-C918-4B52-A9E4-9C7F0EB9AE59}"/>
              </a:ext>
            </a:extLst>
          </p:cNvPr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73160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9">
            <a:extLst>
              <a:ext uri="{FF2B5EF4-FFF2-40B4-BE49-F238E27FC236}">
                <a16:creationId xmlns:a16="http://schemas.microsoft.com/office/drawing/2014/main" id="{35CFE627-2506-40BE-9127-4C95EAC17D9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4013" y="1562100"/>
            <a:ext cx="1506537" cy="4762500"/>
            <a:chOff x="404813" y="1566716"/>
            <a:chExt cx="1719262" cy="477479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A6D638E-EA51-4EFA-8C4C-02323A6420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1566716"/>
              <a:ext cx="1719262" cy="96769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FFFFFF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DD66AA5-33D3-4C7E-BC76-BF7B089A97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2836812"/>
              <a:ext cx="1719262" cy="966101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740760">
                <a:defRPr/>
              </a:pPr>
              <a:r>
                <a:rPr lang="en-GB" sz="1500" b="1" dirty="0">
                  <a:solidFill>
                    <a:srgbClr val="000000"/>
                  </a:solidFill>
                  <a:latin typeface="Arial"/>
                  <a:ea typeface="ＭＳ Ｐゴシック" pitchFamily="34" charset="-128"/>
                  <a:cs typeface="Arial"/>
                </a:rPr>
                <a:t>Tex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E266F42-331D-4AA7-B6EE-FDA410045D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4105316"/>
              <a:ext cx="1719262" cy="9661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B52CF1E-4204-4BD1-B156-605F8CE6FD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4813" y="5373820"/>
              <a:ext cx="1719262" cy="96769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en-GB" sz="1300" b="1" dirty="0">
                  <a:solidFill>
                    <a:srgbClr val="000000"/>
                  </a:solidFill>
                  <a:latin typeface="Arial"/>
                  <a:cs typeface="Arial"/>
                </a:rPr>
                <a:t>Text</a:t>
              </a:r>
            </a:p>
          </p:txBody>
        </p:sp>
      </p:grpSp>
      <p:sp>
        <p:nvSpPr>
          <p:cNvPr id="9" name="AutoShape 9">
            <a:extLst>
              <a:ext uri="{FF2B5EF4-FFF2-40B4-BE49-F238E27FC236}">
                <a16:creationId xmlns:a16="http://schemas.microsoft.com/office/drawing/2014/main" id="{1184AACC-8B0A-4724-ABBD-0769F5563BB1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2499519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AutoShape 9">
            <a:extLst>
              <a:ext uri="{FF2B5EF4-FFF2-40B4-BE49-F238E27FC236}">
                <a16:creationId xmlns:a16="http://schemas.microsoft.com/office/drawing/2014/main" id="{566A51EE-75DE-4749-893F-201CB64D09D9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6788" y="3805238"/>
            <a:ext cx="309562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AutoShape 9">
            <a:extLst>
              <a:ext uri="{FF2B5EF4-FFF2-40B4-BE49-F238E27FC236}">
                <a16:creationId xmlns:a16="http://schemas.microsoft.com/office/drawing/2014/main" id="{2A8CD494-3100-43A7-B6BF-5A57B30F72FC}"/>
              </a:ext>
            </a:extLst>
          </p:cNvPr>
          <p:cNvSpPr>
            <a:spLocks noChangeArrowheads="1"/>
          </p:cNvSpPr>
          <p:nvPr userDrawn="1"/>
        </p:nvSpPr>
        <p:spPr bwMode="gray">
          <a:xfrm rot="5400000" flipV="1">
            <a:off x="965994" y="5056982"/>
            <a:ext cx="311150" cy="315912"/>
          </a:xfrm>
          <a:prstGeom prst="rightArrow">
            <a:avLst>
              <a:gd name="adj1" fmla="val 55000"/>
              <a:gd name="adj2" fmla="val 63606"/>
            </a:avLst>
          </a:prstGeom>
          <a:solidFill>
            <a:schemeClr val="tx2">
              <a:lumMod val="5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eaVert" lIns="299376" tIns="0" rIns="0" bIns="0" anchor="ctr"/>
          <a:lstStyle/>
          <a:p>
            <a:pPr algn="ctr">
              <a:defRPr/>
            </a:pPr>
            <a:endParaRPr lang="en-GB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B8A9FDB-E835-44CA-B021-AC77EAB09E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152241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D0D94A-AEF7-4B8E-BF4D-B07A31832F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2773363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9F6E085-9C3A-4194-A3B6-066CFACEA8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5278438"/>
            <a:ext cx="6815138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01B6BFE-57EF-4934-97A2-30777B2194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95475" y="4022725"/>
            <a:ext cx="6815138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60FB7CE9-7260-4F91-A91D-45790DF375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FCAB13-E4A1-4BD2-9FAE-D728F2BA6D3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F58BBB34-B99C-40E4-A40B-0434C338C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460306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087C968-BCF1-48AA-9032-C00EA2B9CDEE}"/>
              </a:ext>
            </a:extLst>
          </p:cNvPr>
          <p:cNvGraphicFramePr>
            <a:graphicFrameLocks noGrp="1"/>
          </p:cNvGraphicFramePr>
          <p:nvPr/>
        </p:nvGraphicFramePr>
        <p:xfrm>
          <a:off x="327025" y="1363663"/>
          <a:ext cx="8320088" cy="5184775"/>
        </p:xfrm>
        <a:graphic>
          <a:graphicData uri="http://schemas.openxmlformats.org/drawingml/2006/table">
            <a:tbl>
              <a:tblPr firstRow="1"/>
              <a:tblGrid>
                <a:gridCol w="313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9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29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84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79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xt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kern="1200" cap="all" dirty="0">
                          <a:solidFill>
                            <a:srgbClr val="31A93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 2"/>
                        </a:rPr>
                        <a:t></a:t>
                      </a:r>
                      <a:endParaRPr lang="en-US" sz="1900" kern="1200" dirty="0">
                        <a:solidFill>
                          <a:srgbClr val="31A93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/>
                      <a:r>
                        <a:rPr lang="en-IN" sz="1400" b="1" dirty="0">
                          <a:solidFill>
                            <a:srgbClr val="FF0000"/>
                          </a:solidFill>
                        </a:rPr>
                        <a:t>X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endParaRPr lang="en-IN" sz="1400" dirty="0"/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5652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17462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3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D6B775AF-9524-4A22-9DBD-48C00C9E6F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48758A-2443-4482-ACDD-86D5905331A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C0769052-C574-4DCD-BA8C-0E7C4FEED8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6394924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9434F5E-FA7A-4F95-96F9-FB173436B925}"/>
              </a:ext>
            </a:extLst>
          </p:cNvPr>
          <p:cNvSpPr/>
          <p:nvPr userDrawn="1"/>
        </p:nvSpPr>
        <p:spPr>
          <a:xfrm>
            <a:off x="1414463" y="2701925"/>
            <a:ext cx="1057275" cy="54451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5856D4-3FD4-4144-852A-252F5AC97643}"/>
              </a:ext>
            </a:extLst>
          </p:cNvPr>
          <p:cNvSpPr/>
          <p:nvPr userDrawn="1"/>
        </p:nvSpPr>
        <p:spPr>
          <a:xfrm>
            <a:off x="2435225" y="3336925"/>
            <a:ext cx="1055688" cy="808038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F99E20C-0D2B-4676-B198-2E091BF953CA}"/>
              </a:ext>
            </a:extLst>
          </p:cNvPr>
          <p:cNvSpPr/>
          <p:nvPr userDrawn="1"/>
        </p:nvSpPr>
        <p:spPr>
          <a:xfrm>
            <a:off x="3459163" y="4354513"/>
            <a:ext cx="1057275" cy="2019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764C7A-20F6-4CAE-BBB2-3D159419C466}"/>
              </a:ext>
            </a:extLst>
          </p:cNvPr>
          <p:cNvSpPr/>
          <p:nvPr userDrawn="1"/>
        </p:nvSpPr>
        <p:spPr>
          <a:xfrm>
            <a:off x="393700" y="1492250"/>
            <a:ext cx="8416925" cy="30956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r>
              <a:rPr lang="en-IN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8" name="Bent-Up Arrow 20">
            <a:extLst>
              <a:ext uri="{FF2B5EF4-FFF2-40B4-BE49-F238E27FC236}">
                <a16:creationId xmlns:a16="http://schemas.microsoft.com/office/drawing/2014/main" id="{7088311D-382F-44AD-A982-78ABD1CB0E5E}"/>
              </a:ext>
            </a:extLst>
          </p:cNvPr>
          <p:cNvSpPr/>
          <p:nvPr userDrawn="1"/>
        </p:nvSpPr>
        <p:spPr>
          <a:xfrm rot="5400000">
            <a:off x="2397125" y="4189413"/>
            <a:ext cx="1100137" cy="1023938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1060C55-D72E-498D-A66B-F316E649C924}"/>
              </a:ext>
            </a:extLst>
          </p:cNvPr>
          <p:cNvSpPr/>
          <p:nvPr userDrawn="1"/>
        </p:nvSpPr>
        <p:spPr>
          <a:xfrm>
            <a:off x="1455738" y="1951038"/>
            <a:ext cx="7300912" cy="5794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182172-02B5-4CA3-8AA1-8FBB1451A772}"/>
              </a:ext>
            </a:extLst>
          </p:cNvPr>
          <p:cNvSpPr/>
          <p:nvPr userDrawn="1"/>
        </p:nvSpPr>
        <p:spPr>
          <a:xfrm>
            <a:off x="2439988" y="2701925"/>
            <a:ext cx="6316662" cy="5461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3EB1F16-4CB5-49EF-850E-888B342D5D12}"/>
              </a:ext>
            </a:extLst>
          </p:cNvPr>
          <p:cNvSpPr/>
          <p:nvPr userDrawn="1"/>
        </p:nvSpPr>
        <p:spPr>
          <a:xfrm>
            <a:off x="3500438" y="3336925"/>
            <a:ext cx="5256212" cy="80803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A1A7DD-E37E-478F-8525-04D004D185CE}"/>
              </a:ext>
            </a:extLst>
          </p:cNvPr>
          <p:cNvSpPr/>
          <p:nvPr userDrawn="1"/>
        </p:nvSpPr>
        <p:spPr>
          <a:xfrm>
            <a:off x="4546600" y="4354513"/>
            <a:ext cx="4210050" cy="20193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/>
          <a:lstStyle/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r>
              <a:rPr lang="en-IN" sz="1100" dirty="0">
                <a:solidFill>
                  <a:srgbClr val="000000"/>
                </a:solidFill>
              </a:rPr>
              <a:t>Text </a:t>
            </a:r>
          </a:p>
          <a:p>
            <a:pPr marL="158420" indent="-158420" eaLnBrk="1" hangingPunct="1">
              <a:buFont typeface="Wingdings" panose="05000000000000000000" pitchFamily="2" charset="2"/>
              <a:buChar char="§"/>
              <a:defRPr/>
            </a:pPr>
            <a:endParaRPr lang="en-IN" sz="1100" dirty="0">
              <a:solidFill>
                <a:srgbClr val="000000"/>
              </a:solidFill>
            </a:endParaRPr>
          </a:p>
        </p:txBody>
      </p:sp>
      <p:sp>
        <p:nvSpPr>
          <p:cNvPr id="13" name="Bent-Up Arrow 25">
            <a:extLst>
              <a:ext uri="{FF2B5EF4-FFF2-40B4-BE49-F238E27FC236}">
                <a16:creationId xmlns:a16="http://schemas.microsoft.com/office/drawing/2014/main" id="{8D2269B9-6789-4B24-97EA-AB61C6C6DCA0}"/>
              </a:ext>
            </a:extLst>
          </p:cNvPr>
          <p:cNvSpPr/>
          <p:nvPr userDrawn="1"/>
        </p:nvSpPr>
        <p:spPr>
          <a:xfrm rot="5400000">
            <a:off x="1473994" y="3190082"/>
            <a:ext cx="901700" cy="1020762"/>
          </a:xfrm>
          <a:prstGeom prst="bentUpArrow">
            <a:avLst>
              <a:gd name="adj1" fmla="val 25000"/>
              <a:gd name="adj2" fmla="val 25890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14" name="Bent-Up Arrow 26">
            <a:extLst>
              <a:ext uri="{FF2B5EF4-FFF2-40B4-BE49-F238E27FC236}">
                <a16:creationId xmlns:a16="http://schemas.microsoft.com/office/drawing/2014/main" id="{80418895-3B8F-4B1B-821E-2BB3A36D3FE0}"/>
              </a:ext>
            </a:extLst>
          </p:cNvPr>
          <p:cNvSpPr/>
          <p:nvPr userDrawn="1"/>
        </p:nvSpPr>
        <p:spPr>
          <a:xfrm rot="5400000">
            <a:off x="545307" y="2377281"/>
            <a:ext cx="717550" cy="1020763"/>
          </a:xfrm>
          <a:prstGeom prst="bentUpArrow">
            <a:avLst>
              <a:gd name="adj1" fmla="val 25000"/>
              <a:gd name="adj2" fmla="val 24912"/>
              <a:gd name="adj3" fmla="val 25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algn="ctr" eaLnBrk="1" hangingPunct="1">
              <a:defRPr/>
            </a:pPr>
            <a:endParaRPr lang="en-IN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40CC7F5-0FC3-4B1E-BCDF-55B4A7E913C4}"/>
              </a:ext>
            </a:extLst>
          </p:cNvPr>
          <p:cNvSpPr/>
          <p:nvPr userDrawn="1"/>
        </p:nvSpPr>
        <p:spPr>
          <a:xfrm>
            <a:off x="393700" y="1951038"/>
            <a:ext cx="1057275" cy="5778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91" tIns="42245" rIns="84491" bIns="42245" anchor="ctr"/>
          <a:lstStyle/>
          <a:p>
            <a:pPr eaLnBrk="1" hangingPunct="1">
              <a:defRPr/>
            </a:pPr>
            <a:r>
              <a:rPr lang="en-IN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63882E50-F516-4A08-B131-D5375C5BC4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A5F77-163D-426F-A581-BE3A281779D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0D22329D-E13A-4567-8DE4-0DBFFB51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47416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E76CFD3-1F81-418F-843E-EC523A49C75C}"/>
              </a:ext>
            </a:extLst>
          </p:cNvPr>
          <p:cNvGraphicFramePr>
            <a:graphicFrameLocks noGrp="1"/>
          </p:cNvGraphicFramePr>
          <p:nvPr/>
        </p:nvGraphicFramePr>
        <p:xfrm>
          <a:off x="209550" y="1349375"/>
          <a:ext cx="8783638" cy="5062538"/>
        </p:xfrm>
        <a:graphic>
          <a:graphicData uri="http://schemas.openxmlformats.org/drawingml/2006/table">
            <a:tbl>
              <a:tblPr firstRow="1"/>
              <a:tblGrid>
                <a:gridCol w="2650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96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37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65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IN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SN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 Area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b="1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Progres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itchFamily="34" charset="0"/>
                        </a:rPr>
                        <a:t>Remarks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8956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kern="1200" dirty="0">
                        <a:solidFill>
                          <a:srgbClr val="31A93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629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 dirty="0">
                        <a:solidFill>
                          <a:srgbClr val="FF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1526" marR="31526" marT="35908" marB="35908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4625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3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4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6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7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9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6660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indent="0" algn="ctr" fontAlgn="b">
                        <a:buFont typeface="+mj-lt"/>
                        <a:buNone/>
                      </a:pPr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74625" lvl="0" indent="0" algn="l" fontAlgn="b"/>
                      <a:r>
                        <a:rPr lang="en-IN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itchFamily="34" charset="0"/>
                        </a:rPr>
                        <a:t>Text</a:t>
                      </a:r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174625" algn="l" fontAlgn="b"/>
                      <a:endParaRPr lang="en-US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itchFamily="34" charset="0"/>
                      </a:endParaRPr>
                    </a:p>
                  </a:txBody>
                  <a:tcPr marL="9524" marR="9524" marT="9676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Up Arrow 5">
            <a:extLst>
              <a:ext uri="{FF2B5EF4-FFF2-40B4-BE49-F238E27FC236}">
                <a16:creationId xmlns:a16="http://schemas.microsoft.com/office/drawing/2014/main" id="{9613EBE4-F9C7-4E71-B41E-4909FC74E4D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1879600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6" name="Up Arrow 6">
            <a:extLst>
              <a:ext uri="{FF2B5EF4-FFF2-40B4-BE49-F238E27FC236}">
                <a16:creationId xmlns:a16="http://schemas.microsoft.com/office/drawing/2014/main" id="{3817CFA3-6B29-4604-99F4-7F1C4FC165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816475" y="2833688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00B050"/>
          </a:solidFill>
          <a:ln w="19050" algn="ctr">
            <a:solidFill>
              <a:srgbClr val="00B050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7" name="Up Arrow 7">
            <a:extLst>
              <a:ext uri="{FF2B5EF4-FFF2-40B4-BE49-F238E27FC236}">
                <a16:creationId xmlns:a16="http://schemas.microsoft.com/office/drawing/2014/main" id="{3CDED680-E68B-4733-85FB-3C2FECC80230}"/>
              </a:ext>
            </a:extLst>
          </p:cNvPr>
          <p:cNvSpPr>
            <a:spLocks noChangeArrowheads="1"/>
          </p:cNvSpPr>
          <p:nvPr userDrawn="1"/>
        </p:nvSpPr>
        <p:spPr bwMode="auto">
          <a:xfrm flipV="1">
            <a:off x="4816475" y="2384425"/>
            <a:ext cx="190500" cy="323850"/>
          </a:xfrm>
          <a:prstGeom prst="upArrow">
            <a:avLst>
              <a:gd name="adj1" fmla="val 50000"/>
              <a:gd name="adj2" fmla="val 49764"/>
            </a:avLst>
          </a:prstGeom>
          <a:solidFill>
            <a:srgbClr val="EB5335"/>
          </a:solidFill>
          <a:ln w="19050" algn="ctr">
            <a:solidFill>
              <a:srgbClr val="EB5335"/>
            </a:solidFill>
            <a:prstDash val="sysDot"/>
            <a:round/>
            <a:headEnd/>
            <a:tailEnd/>
          </a:ln>
        </p:spPr>
        <p:txBody>
          <a:bodyPr wrap="none" lIns="84491" tIns="42245" rIns="84491" bIns="42245" anchor="ctr"/>
          <a:lstStyle>
            <a:lvl1pPr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IN" altLang="en-US" sz="170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C00C0038-C640-42BA-83E6-AE65291050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89F14E-2C70-4DB5-A2FE-2424315DAA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C5F6966-8117-4020-B904-AD4E3D945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890244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E1581E6-46D1-4D32-A3A3-CE9BF81E4A1B}"/>
              </a:ext>
            </a:extLst>
          </p:cNvPr>
          <p:cNvSpPr/>
          <p:nvPr userDrawn="1"/>
        </p:nvSpPr>
        <p:spPr>
          <a:xfrm>
            <a:off x="469900" y="1139825"/>
            <a:ext cx="8499475" cy="5127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A6CF9700-7341-433F-B961-6E7011F2DEA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77800" y="1155700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AFFDDD-3694-4BEA-A631-0B74259701F5}"/>
              </a:ext>
            </a:extLst>
          </p:cNvPr>
          <p:cNvSpPr/>
          <p:nvPr userDrawn="1"/>
        </p:nvSpPr>
        <p:spPr>
          <a:xfrm>
            <a:off x="469900" y="2005013"/>
            <a:ext cx="84994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F63E63F9-D9FE-4024-8446-A5AAB611136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179388" y="2070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0B69FF-4F59-48F4-A443-156FD8316065}"/>
              </a:ext>
            </a:extLst>
          </p:cNvPr>
          <p:cNvSpPr/>
          <p:nvPr userDrawn="1"/>
        </p:nvSpPr>
        <p:spPr>
          <a:xfrm>
            <a:off x="469900" y="2914650"/>
            <a:ext cx="8499475" cy="5715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C7177A40-0E62-41BA-95E3-BBA19615E1C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71450" y="297021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B473A91-B083-4C1A-BB8A-FBD1EF92609D}"/>
              </a:ext>
            </a:extLst>
          </p:cNvPr>
          <p:cNvSpPr/>
          <p:nvPr userDrawn="1"/>
        </p:nvSpPr>
        <p:spPr>
          <a:xfrm>
            <a:off x="469900" y="3838575"/>
            <a:ext cx="8499475" cy="5445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3ED7851A-37A4-4EE9-9C7C-F67F52BA241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85738" y="3875088"/>
            <a:ext cx="390525" cy="43180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507AD8D-0C3A-4EF1-8D37-A04B5B8D1421}"/>
              </a:ext>
            </a:extLst>
          </p:cNvPr>
          <p:cNvSpPr/>
          <p:nvPr userDrawn="1"/>
        </p:nvSpPr>
        <p:spPr>
          <a:xfrm>
            <a:off x="469900" y="4735513"/>
            <a:ext cx="8499475" cy="49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352FAD2F-7ECF-4D16-8AEF-6492CBEF71E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93675" y="4765675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27572F-693B-488F-9495-E77310968464}"/>
              </a:ext>
            </a:extLst>
          </p:cNvPr>
          <p:cNvSpPr/>
          <p:nvPr userDrawn="1"/>
        </p:nvSpPr>
        <p:spPr>
          <a:xfrm>
            <a:off x="469900" y="5521325"/>
            <a:ext cx="84994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Oval 263">
            <a:extLst>
              <a:ext uri="{FF2B5EF4-FFF2-40B4-BE49-F238E27FC236}">
                <a16:creationId xmlns:a16="http://schemas.microsoft.com/office/drawing/2014/main" id="{86C1086C-646E-492A-8872-A387B399716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193675" y="55514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4C8A8F4D-E110-42FD-B85C-0847B05D37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92128-890E-4813-BAFA-135F47162D4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A1141BA4-98C9-45A7-818B-AD6B0FAF1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23766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54400" y="20880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54400" y="43776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404813" y="20880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403200" y="43776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  <a:endParaRPr lang="nl-NL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50ABD2D3-F995-430D-B580-876CADAFEF5A}"/>
              </a:ext>
            </a:extLst>
          </p:cNvPr>
          <p:cNvSpPr>
            <a:spLocks noGrp="1" noChangeArrowheads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F5CC6-567E-4667-92BD-199A8F54C0A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CEC32399-6F28-444B-A416-5E74DBE92B71}"/>
              </a:ext>
            </a:extLst>
          </p:cNvPr>
          <p:cNvSpPr>
            <a:spLocks noGrp="1" noChangeArrowheads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52253366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5A87933-7D80-48D5-AB5D-5783BC8C93C8}"/>
              </a:ext>
            </a:extLst>
          </p:cNvPr>
          <p:cNvSpPr/>
          <p:nvPr userDrawn="1"/>
        </p:nvSpPr>
        <p:spPr>
          <a:xfrm>
            <a:off x="604838" y="1658938"/>
            <a:ext cx="4594225" cy="6905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5" name="Oval 259">
            <a:extLst>
              <a:ext uri="{FF2B5EF4-FFF2-40B4-BE49-F238E27FC236}">
                <a16:creationId xmlns:a16="http://schemas.microsoft.com/office/drawing/2014/main" id="{D2FD2D3B-9C75-4044-BF3C-CD0A48BFDCAB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385763" y="17716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FE6278-D217-407B-BC41-61D3C4974945}"/>
              </a:ext>
            </a:extLst>
          </p:cNvPr>
          <p:cNvSpPr/>
          <p:nvPr userDrawn="1"/>
        </p:nvSpPr>
        <p:spPr>
          <a:xfrm>
            <a:off x="604838" y="2524125"/>
            <a:ext cx="4594225" cy="749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Oval 260">
            <a:extLst>
              <a:ext uri="{FF2B5EF4-FFF2-40B4-BE49-F238E27FC236}">
                <a16:creationId xmlns:a16="http://schemas.microsoft.com/office/drawing/2014/main" id="{91900391-B78D-49A2-8ABF-15FA1231EDF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385763" y="26733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75ADF1D-D243-48E9-BA98-38306569E54C}"/>
              </a:ext>
            </a:extLst>
          </p:cNvPr>
          <p:cNvSpPr/>
          <p:nvPr userDrawn="1"/>
        </p:nvSpPr>
        <p:spPr>
          <a:xfrm>
            <a:off x="604838" y="3433763"/>
            <a:ext cx="4594225" cy="7683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9" name="Oval 261">
            <a:extLst>
              <a:ext uri="{FF2B5EF4-FFF2-40B4-BE49-F238E27FC236}">
                <a16:creationId xmlns:a16="http://schemas.microsoft.com/office/drawing/2014/main" id="{9C3757BD-4842-4272-AD3A-65A454574CC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79413" y="3587750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87C5CF-CCF1-4DA3-98C4-2927D896D544}"/>
              </a:ext>
            </a:extLst>
          </p:cNvPr>
          <p:cNvSpPr/>
          <p:nvPr userDrawn="1"/>
        </p:nvSpPr>
        <p:spPr>
          <a:xfrm>
            <a:off x="604838" y="4357688"/>
            <a:ext cx="4594225" cy="7334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1" name="Oval 262">
            <a:extLst>
              <a:ext uri="{FF2B5EF4-FFF2-40B4-BE49-F238E27FC236}">
                <a16:creationId xmlns:a16="http://schemas.microsoft.com/office/drawing/2014/main" id="{3B07119E-DA30-46EF-9859-EA9A427459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392113" y="4492625"/>
            <a:ext cx="409575" cy="466725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B0E1F0-C20A-4214-8478-CE0B8E5F1ECB}"/>
              </a:ext>
            </a:extLst>
          </p:cNvPr>
          <p:cNvSpPr/>
          <p:nvPr userDrawn="1"/>
        </p:nvSpPr>
        <p:spPr>
          <a:xfrm>
            <a:off x="604838" y="5254625"/>
            <a:ext cx="4594225" cy="665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3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3" name="Oval 263">
            <a:extLst>
              <a:ext uri="{FF2B5EF4-FFF2-40B4-BE49-F238E27FC236}">
                <a16:creationId xmlns:a16="http://schemas.microsoft.com/office/drawing/2014/main" id="{0F76FF16-3BA8-4D94-B3F3-4830D6F2165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63538" y="5341938"/>
            <a:ext cx="409575" cy="46513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13F62E-AB02-4597-A445-9376CFFCD2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1668463"/>
            <a:ext cx="1674813" cy="688975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6A8881-0C5D-4D26-A3CA-A5FBFFAB30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2533650"/>
            <a:ext cx="1674813" cy="74771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0E3EB15-29CC-4F2D-AC40-466D7B1DAD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3441700"/>
            <a:ext cx="1674813" cy="769938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AA296F8-A954-4C9C-8FA7-5261EB86CA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4367213"/>
            <a:ext cx="1674813" cy="731837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A553A3-4AF4-4878-AF20-0963574E26E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108825" y="5264150"/>
            <a:ext cx="1674813" cy="665163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158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0FC7506-447F-4519-8EE8-1D234F1611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1668463"/>
            <a:ext cx="1674812" cy="688975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2FECD78-4C92-48B7-8799-EC4BD243CF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2533650"/>
            <a:ext cx="1674812" cy="74771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6A11FE-4ED6-4163-BE42-DAB8C2E61C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3441700"/>
            <a:ext cx="1674812" cy="769938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4AF0AA0-24BA-47D3-8C38-7F010CC643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4367213"/>
            <a:ext cx="1674812" cy="731837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C093E56-E420-454C-9773-AE66A747EB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22888" y="5264150"/>
            <a:ext cx="1674812" cy="665163"/>
          </a:xfrm>
          <a:prstGeom prst="rect">
            <a:avLst/>
          </a:prstGeom>
          <a:solidFill>
            <a:srgbClr val="F8D9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3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EAEC86-93C7-4314-A9FB-3372A057B1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556250" y="1306513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E7AD7CF-EED4-4828-BEA5-0F1ACA3CAF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46950" y="1290638"/>
            <a:ext cx="1228725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C427B4-627B-47D3-8378-1EA4618339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4838" y="1306513"/>
            <a:ext cx="1227137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491" tIns="42245" rIns="84491" bIns="42245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Description</a:t>
            </a:r>
            <a:endParaRPr lang="en-US" altLang="en-US" sz="15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8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D524F5A4-B0DE-4F87-8E9C-3B8F95765D2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07914E-7D44-4636-BF82-376EB62B69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2AE40876-C877-433C-B156-A9376BF0FC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320301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FA9857B-B4AF-4D2B-8D9B-49D120F4CC51}"/>
              </a:ext>
            </a:extLst>
          </p:cNvPr>
          <p:cNvGraphicFramePr>
            <a:graphicFrameLocks/>
          </p:cNvGraphicFramePr>
          <p:nvPr/>
        </p:nvGraphicFramePr>
        <p:xfrm>
          <a:off x="393700" y="1463675"/>
          <a:ext cx="8366125" cy="5183188"/>
        </p:xfrm>
        <a:graphic>
          <a:graphicData uri="http://schemas.openxmlformats.org/drawingml/2006/table">
            <a:tbl>
              <a:tblPr firstRow="1" bandRow="1"/>
              <a:tblGrid>
                <a:gridCol w="394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9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368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158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SN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Particular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Remarks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31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1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endParaRPr lang="en-US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2141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2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  <a:endParaRPr lang="en-IN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6553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3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>
                          <a:latin typeface="+mn-lt"/>
                          <a:cs typeface="Arial" pitchFamily="34" charset="0"/>
                        </a:rPr>
                        <a:t> </a:t>
                      </a:r>
                      <a:endParaRPr lang="en-IN" sz="1400" baseline="0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01024"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latin typeface="+mn-lt"/>
                          <a:cs typeface="Arial" pitchFamily="34" charset="0"/>
                        </a:rPr>
                        <a:t>4</a:t>
                      </a: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IN" sz="1400" b="1" dirty="0">
                        <a:latin typeface="+mn-lt"/>
                        <a:cs typeface="Arial" pitchFamily="34" charset="0"/>
                      </a:endParaRP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1pPr>
                      <a:lvl2pPr marL="494782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2pPr>
                      <a:lvl3pPr marL="989564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3pPr>
                      <a:lvl4pPr marL="1484346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4pPr>
                      <a:lvl5pPr marL="1979127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5pPr>
                      <a:lvl6pPr marL="2473909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6pPr>
                      <a:lvl7pPr marL="2968691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7pPr>
                      <a:lvl8pPr marL="3463473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8pPr>
                      <a:lvl9pPr marL="3958255" algn="l" defTabSz="989564" rtl="0" eaLnBrk="1" latinLnBrk="0" hangingPunct="1">
                        <a:defRPr sz="19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Text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  <a:p>
                      <a:pPr marL="182563" indent="-182563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IN" sz="1400" baseline="0" dirty="0">
                          <a:latin typeface="+mn-lt"/>
                          <a:cs typeface="Arial" pitchFamily="34" charset="0"/>
                        </a:rPr>
                        <a:t> </a:t>
                      </a:r>
                    </a:p>
                  </a:txBody>
                  <a:tcPr marL="86012" marR="86012" marT="44883" marB="44883">
                    <a:lnL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lumMod val="40000"/>
                          <a:lumOff val="6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41164D7-3D7D-492D-A729-6E098C6304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5825C0-CBD7-4894-8F83-FFAD4D8111B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65231D0E-0173-4F03-8F7B-36FB128AF1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9697806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179F90E-D9E3-40A1-8D78-CEA33FAD5193}"/>
              </a:ext>
            </a:extLst>
          </p:cNvPr>
          <p:cNvGraphicFramePr>
            <a:graphicFrameLocks noGrp="1"/>
          </p:cNvGraphicFramePr>
          <p:nvPr/>
        </p:nvGraphicFramePr>
        <p:xfrm>
          <a:off x="393700" y="1401763"/>
          <a:ext cx="8353425" cy="2347912"/>
        </p:xfrm>
        <a:graphic>
          <a:graphicData uri="http://schemas.openxmlformats.org/drawingml/2006/table">
            <a:tbl>
              <a:tblPr/>
              <a:tblGrid>
                <a:gridCol w="15178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0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08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15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22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493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26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329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375257">
                <a:tc>
                  <a:txBody>
                    <a:bodyPr/>
                    <a:lstStyle/>
                    <a:p>
                      <a:pPr algn="ctr" fontAlgn="b"/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oM</a:t>
                      </a:r>
                      <a:endParaRPr lang="en-IN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F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Q/Q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Change Y/Y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marks</a:t>
                      </a:r>
                    </a:p>
                  </a:txBody>
                  <a:tcPr marL="31529" marR="31529" marT="9497" marB="0" anchor="ctr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776"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IN" sz="12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31529" marR="31529" marT="9497" marB="0" anchor="b">
                    <a:lnL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5" name="Group 10">
            <a:extLst>
              <a:ext uri="{FF2B5EF4-FFF2-40B4-BE49-F238E27FC236}">
                <a16:creationId xmlns:a16="http://schemas.microsoft.com/office/drawing/2014/main" id="{6C38661C-A996-4908-9555-49297FC7CB2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98463" y="4192588"/>
            <a:ext cx="8361362" cy="2232025"/>
            <a:chOff x="123367" y="5147491"/>
            <a:chExt cx="8864071" cy="1583827"/>
          </a:xfrm>
        </p:grpSpPr>
        <p:sp>
          <p:nvSpPr>
            <p:cNvPr id="6" name="Tijdelijke aanduiding voor verticale tekst 24">
              <a:extLst>
                <a:ext uri="{FF2B5EF4-FFF2-40B4-BE49-F238E27FC236}">
                  <a16:creationId xmlns:a16="http://schemas.microsoft.com/office/drawing/2014/main" id="{784D2DDC-E28F-4B3F-BB73-ABAFADDD55DC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405454"/>
              <a:ext cx="8864071" cy="1325864"/>
            </a:xfrm>
            <a:prstGeom prst="rect">
              <a:avLst/>
            </a:prstGeom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5650" lvl="1">
                <a:buFont typeface="Wingdings" pitchFamily="2" charset="2"/>
                <a:buChar char="§"/>
                <a:defRPr/>
              </a:pPr>
              <a:r>
                <a:rPr lang="en-GB" sz="1300" dirty="0">
                  <a:solidFill>
                    <a:srgbClr val="000000"/>
                  </a:solidFill>
                </a:rPr>
                <a:t>Text</a:t>
              </a:r>
              <a:endParaRPr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7" name="Tijdelijke aanduiding voor verticale tekst 25">
              <a:extLst>
                <a:ext uri="{FF2B5EF4-FFF2-40B4-BE49-F238E27FC236}">
                  <a16:creationId xmlns:a16="http://schemas.microsoft.com/office/drawing/2014/main" id="{8BFD65A4-A543-4952-B91E-F1F2392A59D8}"/>
                </a:ext>
              </a:extLst>
            </p:cNvPr>
            <p:cNvSpPr txBox="1">
              <a:spLocks/>
            </p:cNvSpPr>
            <p:nvPr/>
          </p:nvSpPr>
          <p:spPr>
            <a:xfrm>
              <a:off x="123367" y="5147491"/>
              <a:ext cx="8864071" cy="257963"/>
            </a:xfrm>
            <a:prstGeom prst="rect">
              <a:avLst/>
            </a:prstGeom>
            <a:solidFill>
              <a:schemeClr val="accent6">
                <a:lumMod val="10000"/>
                <a:lumOff val="9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txBody>
            <a:bodyPr wrap="none" lIns="180000" tIns="72000" rIns="216000" anchor="ctr"/>
            <a:lstStyle>
              <a:lvl1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3"/>
                </a:buClr>
                <a:buFont typeface="Wingdings" panose="05000000000000000000" pitchFamily="2" charset="2"/>
                <a:buNone/>
                <a:defRPr sz="1800" b="1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1778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5600" indent="-17780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3400" indent="-174625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725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i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5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5600" indent="-173038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tabLst/>
                <a:defRPr sz="16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38163" indent="-182563" algn="l" defTabSz="914400" rtl="0" eaLnBrk="1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82082">
                <a:lnSpc>
                  <a:spcPts val="1736"/>
                </a:lnSpc>
                <a:spcBef>
                  <a:spcPts val="578"/>
                </a:spcBef>
                <a:spcAft>
                  <a:spcPts val="578"/>
                </a:spcAft>
                <a:buClr>
                  <a:srgbClr val="FFA100"/>
                </a:buClr>
                <a:defRPr/>
              </a:pPr>
              <a:r>
                <a:rPr lang="en-US" sz="1500" dirty="0">
                  <a:solidFill>
                    <a:srgbClr val="000000"/>
                  </a:solidFill>
                </a:rPr>
                <a:t>Highlights</a:t>
              </a:r>
            </a:p>
          </p:txBody>
        </p: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33DF25D-0086-45E6-B365-7D0091E2E99C}"/>
              </a:ext>
            </a:extLst>
          </p:cNvPr>
          <p:cNvGraphicFramePr>
            <a:graphicFrameLocks noGrp="1"/>
          </p:cNvGraphicFramePr>
          <p:nvPr/>
        </p:nvGraphicFramePr>
        <p:xfrm>
          <a:off x="377825" y="3859213"/>
          <a:ext cx="8382000" cy="219075"/>
        </p:xfrm>
        <a:graphic>
          <a:graphicData uri="http://schemas.openxmlformats.org/drawingml/2006/table">
            <a:tbl>
              <a:tblPr/>
              <a:tblGrid>
                <a:gridCol w="20955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55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1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94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9075"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y</a:t>
                      </a:r>
                    </a:p>
                  </a:txBody>
                  <a:tcPr marL="8869" marR="8869" marT="9659" marB="0" anchor="ctr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FF9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F7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xt</a:t>
                      </a:r>
                    </a:p>
                  </a:txBody>
                  <a:tcPr marL="8869" marR="8869" marT="9659" marB="0" anchor="ctr">
                    <a:lnL>
                      <a:noFill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9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70722C3-F544-4485-B167-98C2F1937D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A8342A-A953-4B76-B9FE-37253415E6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9DCF84E-CF3C-4F5A-BC5F-022820D117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1904775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4">
            <a:extLst>
              <a:ext uri="{FF2B5EF4-FFF2-40B4-BE49-F238E27FC236}">
                <a16:creationId xmlns:a16="http://schemas.microsoft.com/office/drawing/2014/main" id="{B0E6132C-C8B9-4B8D-AABF-A7B838FCEB3A}"/>
              </a:ext>
            </a:extLst>
          </p:cNvPr>
          <p:cNvSpPr/>
          <p:nvPr userDrawn="1"/>
        </p:nvSpPr>
        <p:spPr bwMode="auto">
          <a:xfrm>
            <a:off x="4508500" y="1598613"/>
            <a:ext cx="4435475" cy="4967287"/>
          </a:xfrm>
          <a:prstGeom prst="homePlate">
            <a:avLst>
              <a:gd name="adj" fmla="val 507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Pentagon 5">
            <a:extLst>
              <a:ext uri="{FF2B5EF4-FFF2-40B4-BE49-F238E27FC236}">
                <a16:creationId xmlns:a16="http://schemas.microsoft.com/office/drawing/2014/main" id="{D854F675-5153-4657-B839-775803A0C0A6}"/>
              </a:ext>
            </a:extLst>
          </p:cNvPr>
          <p:cNvSpPr/>
          <p:nvPr userDrawn="1"/>
        </p:nvSpPr>
        <p:spPr bwMode="auto">
          <a:xfrm>
            <a:off x="233363" y="1598613"/>
            <a:ext cx="4460875" cy="4967287"/>
          </a:xfrm>
          <a:prstGeom prst="homePlate">
            <a:avLst>
              <a:gd name="adj" fmla="val 8913"/>
            </a:avLst>
          </a:prstGeom>
          <a:solidFill>
            <a:schemeClr val="tx2">
              <a:lumMod val="20000"/>
              <a:lumOff val="80000"/>
            </a:schemeClr>
          </a:solidFill>
          <a:ln w="28575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66320" tIns="166320" rIns="166320" bIns="166320"/>
          <a:lstStyle/>
          <a:p>
            <a:pPr defTabSz="844906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7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420986" indent="-264033" defTabSz="844906" eaLnBrk="1" hangingPunct="1">
              <a:buFont typeface="Arial" pitchFamily="34" charset="0"/>
              <a:buChar char="•"/>
              <a:defRPr/>
            </a:pPr>
            <a:r>
              <a:rPr lang="en-IN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18419" y="1106955"/>
            <a:ext cx="8726041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9098C15-6671-4236-8F90-226A653699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89CCFA-877F-4341-8060-794C26C59F7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007DEF6-B0F4-4D85-9128-0DE3EFCCFD9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1568537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66C22B3A-7A20-4BCA-9901-43F5DEA7A887}"/>
              </a:ext>
            </a:extLst>
          </p:cNvPr>
          <p:cNvGraphicFramePr/>
          <p:nvPr userDrawn="1"/>
        </p:nvGraphicFramePr>
        <p:xfrm>
          <a:off x="402863" y="1585246"/>
          <a:ext cx="4833219" cy="46715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E42055A-BCF1-41AD-A0BF-BFE46A2248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3194050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99C24F-04BB-4EAA-BD3F-70C550D9CF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566863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915EA8-2E4D-4279-86B3-275761D414B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4821238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2B921B1F-A94E-45FC-BFAA-FD5E59FFA5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53EFBE-8605-4E61-95DB-D55B87609EA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64923231-9B78-434D-842E-13BB1F5DB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917657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5FEEC7-31C2-4BCD-ACFF-8B0B0E1C385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1493838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BA1795-B47A-4B25-9A81-7AE80714C48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724150" y="15033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51C1D2-20BA-4499-826B-E9E3AC1CEA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12750" y="4119563"/>
            <a:ext cx="2206625" cy="2513012"/>
          </a:xfrm>
          <a:prstGeom prst="rect">
            <a:avLst/>
          </a:prstGeom>
          <a:solidFill>
            <a:srgbClr val="E2FFC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91" tIns="42245" rIns="84491" bIns="42245" anchor="ctr"/>
          <a:lstStyle>
            <a:lvl1pPr marL="2476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defRPr/>
            </a:pPr>
            <a:r>
              <a:rPr lang="en-IN" altLang="en-US" sz="1500" b="1">
                <a:solidFill>
                  <a:srgbClr val="000000"/>
                </a:solidFill>
              </a:rPr>
              <a:t>Tex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33F26F-3780-4932-A47E-E480AEE9439B}"/>
              </a:ext>
            </a:extLst>
          </p:cNvPr>
          <p:cNvSpPr/>
          <p:nvPr userDrawn="1"/>
        </p:nvSpPr>
        <p:spPr>
          <a:xfrm rot="425343">
            <a:off x="2832100" y="4198938"/>
            <a:ext cx="2143125" cy="24415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38255EB-61D0-4A13-9711-E784752A95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35575" y="1482725"/>
            <a:ext cx="3536950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481" tIns="42242" rIns="84481" bIns="42242">
            <a:spAutoFit/>
          </a:bodyPr>
          <a:lstStyle>
            <a:lvl1pPr marL="263525" indent="-263525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445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445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TEXT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  <a:p>
            <a:pPr eaLnBrk="1" hangingPunct="1">
              <a:buFont typeface="Wingdings" panose="05000000000000000000" pitchFamily="2" charset="2"/>
              <a:buChar char="§"/>
              <a:defRPr/>
            </a:pPr>
            <a:r>
              <a:rPr lang="en-US" altLang="en-US" sz="150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93C90CC6-60CD-48A6-BA82-EC97FF3C6BF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68991-E3F4-4370-993A-770222A5849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76737E1-7D88-413A-A666-ACD39014E0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0988767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83AF4D-6B88-4081-8EA5-00A6F018755B}"/>
              </a:ext>
            </a:extLst>
          </p:cNvPr>
          <p:cNvSpPr/>
          <p:nvPr userDrawn="1"/>
        </p:nvSpPr>
        <p:spPr>
          <a:xfrm>
            <a:off x="134938" y="1646238"/>
            <a:ext cx="2843212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F06AF99-56AC-4C89-8E0C-6196B76523CF}"/>
              </a:ext>
            </a:extLst>
          </p:cNvPr>
          <p:cNvCxnSpPr/>
          <p:nvPr userDrawn="1"/>
        </p:nvCxnSpPr>
        <p:spPr>
          <a:xfrm>
            <a:off x="3013075" y="16335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EC45BA9-CF88-4DDF-A152-861CE19F6C07}"/>
              </a:ext>
            </a:extLst>
          </p:cNvPr>
          <p:cNvCxnSpPr/>
          <p:nvPr userDrawn="1"/>
        </p:nvCxnSpPr>
        <p:spPr>
          <a:xfrm>
            <a:off x="6059488" y="1646238"/>
            <a:ext cx="0" cy="5026025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878BEB98-D7C9-43F3-B587-79FE9E10688E}"/>
              </a:ext>
            </a:extLst>
          </p:cNvPr>
          <p:cNvSpPr/>
          <p:nvPr userDrawn="1"/>
        </p:nvSpPr>
        <p:spPr>
          <a:xfrm>
            <a:off x="114300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80BBF9-240E-4FE0-BE24-6F0148210899}"/>
              </a:ext>
            </a:extLst>
          </p:cNvPr>
          <p:cNvSpPr/>
          <p:nvPr userDrawn="1"/>
        </p:nvSpPr>
        <p:spPr>
          <a:xfrm>
            <a:off x="134938" y="3384550"/>
            <a:ext cx="8823325" cy="3603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buClr>
                <a:srgbClr val="3D7EDB"/>
              </a:buClr>
              <a:defRPr/>
            </a:pPr>
            <a:r>
              <a:rPr lang="en-GB" sz="15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1824B4-C480-41DD-A7CA-CAAC9D4961E0}"/>
              </a:ext>
            </a:extLst>
          </p:cNvPr>
          <p:cNvSpPr/>
          <p:nvPr userDrawn="1"/>
        </p:nvSpPr>
        <p:spPr>
          <a:xfrm>
            <a:off x="123825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CFDB8B-67A9-4BAD-A5E6-E886A168FA37}"/>
              </a:ext>
            </a:extLst>
          </p:cNvPr>
          <p:cNvSpPr/>
          <p:nvPr userDrawn="1"/>
        </p:nvSpPr>
        <p:spPr>
          <a:xfrm>
            <a:off x="3074988" y="1646238"/>
            <a:ext cx="2954337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8B27E9-E83B-48AE-887F-07EE55B9D0F1}"/>
              </a:ext>
            </a:extLst>
          </p:cNvPr>
          <p:cNvSpPr/>
          <p:nvPr userDrawn="1"/>
        </p:nvSpPr>
        <p:spPr>
          <a:xfrm>
            <a:off x="3054350" y="3886200"/>
            <a:ext cx="2952750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D06959-971B-4B51-83AD-2C53D6B5AFA6}"/>
              </a:ext>
            </a:extLst>
          </p:cNvPr>
          <p:cNvSpPr/>
          <p:nvPr userDrawn="1"/>
        </p:nvSpPr>
        <p:spPr>
          <a:xfrm>
            <a:off x="3062288" y="2073275"/>
            <a:ext cx="2954337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4CA743-914E-439E-94EE-D7C7EEA75B5D}"/>
              </a:ext>
            </a:extLst>
          </p:cNvPr>
          <p:cNvSpPr/>
          <p:nvPr userDrawn="1"/>
        </p:nvSpPr>
        <p:spPr>
          <a:xfrm>
            <a:off x="6137275" y="1646238"/>
            <a:ext cx="2843213" cy="3603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208" tIns="44104" rIns="88208" bIns="44104" anchor="ctr"/>
          <a:lstStyle/>
          <a:p>
            <a:pPr algn="ctr" eaLnBrk="1" hangingPunct="1">
              <a:defRPr/>
            </a:pPr>
            <a:r>
              <a:rPr lang="en-IN" sz="1300" b="1" dirty="0">
                <a:solidFill>
                  <a:srgbClr val="000000"/>
                </a:solidFill>
              </a:rPr>
              <a:t>Descrip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AEEA08B-A770-42E6-91F3-89E3594F643C}"/>
              </a:ext>
            </a:extLst>
          </p:cNvPr>
          <p:cNvSpPr/>
          <p:nvPr userDrawn="1"/>
        </p:nvSpPr>
        <p:spPr>
          <a:xfrm>
            <a:off x="6116638" y="3886200"/>
            <a:ext cx="2841625" cy="8350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5F8BA8-42CA-429C-B188-852D1D4F6336}"/>
              </a:ext>
            </a:extLst>
          </p:cNvPr>
          <p:cNvSpPr/>
          <p:nvPr userDrawn="1"/>
        </p:nvSpPr>
        <p:spPr>
          <a:xfrm>
            <a:off x="6126163" y="2073275"/>
            <a:ext cx="2841625" cy="8334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8208" tIns="44104" rIns="88208" bIns="44104">
            <a:spAutoFit/>
          </a:bodyPr>
          <a:lstStyle/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r>
              <a:rPr lang="en-GB" sz="11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91883" indent="-91883" eaLnBrk="1" hangingPunct="1">
              <a:lnSpc>
                <a:spcPct val="110000"/>
              </a:lnSpc>
              <a:buClr>
                <a:srgbClr val="3D7EDB"/>
              </a:buClr>
              <a:buFont typeface="Wingdings" pitchFamily="2" charset="2"/>
              <a:buChar char="§"/>
              <a:defRPr/>
            </a:pPr>
            <a:endParaRPr lang="en-GB" sz="11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4" name="Tijdelijke aanduiding voor inhoud 2"/>
          <p:cNvSpPr>
            <a:spLocks noGrp="1"/>
          </p:cNvSpPr>
          <p:nvPr>
            <p:ph idx="1"/>
          </p:nvPr>
        </p:nvSpPr>
        <p:spPr>
          <a:xfrm>
            <a:off x="172483" y="967981"/>
            <a:ext cx="8821257" cy="434891"/>
          </a:xfrm>
        </p:spPr>
        <p:txBody>
          <a:bodyPr/>
          <a:lstStyle>
            <a:lvl1pPr marL="0" indent="0">
              <a:buNone/>
              <a:defRPr sz="1500" b="1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920FA7B4-037D-4980-BE07-097D0CA605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01D8B1-696F-4C6E-A4EC-BEFAD1927F5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E62CFD35-06C2-48DE-8FBC-5C31A03BC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0267121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27DA242-1EB9-40D1-A24F-2F3028C13C9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28587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IN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CC36F36-E815-43EE-BCC4-94C0F49AF86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1922463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2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29148E0-8089-42B6-9EDE-629BEFCA03E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2557463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3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C0B71553-815C-41F8-A1B9-0673827CA70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830638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5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09128AE-E5AB-4F3A-87E1-DAA5BB34981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3194050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4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A57F163B-F3F5-48EB-AF3E-2F4DCF68CA8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4465638"/>
            <a:ext cx="8501063" cy="46672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 marL="316840" indent="-316840">
              <a:spcBef>
                <a:spcPct val="25000"/>
              </a:spcBef>
              <a:buFont typeface="+mj-lt"/>
              <a:buAutoNum type="arabicPeriod" startAt="6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A53285B9-78C6-4E01-97EE-AD442161703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295275" y="5102225"/>
            <a:ext cx="8501063" cy="466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endParaRPr lang="en-US" sz="15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316840" indent="-316840">
              <a:spcBef>
                <a:spcPct val="25000"/>
              </a:spcBef>
              <a:buFont typeface="+mj-lt"/>
              <a:buAutoNum type="arabicPeriod" startAt="7"/>
              <a:defRPr/>
            </a:pPr>
            <a:r>
              <a:rPr lang="en-US" sz="1500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  <a:p>
            <a:pPr>
              <a:spcBef>
                <a:spcPct val="25000"/>
              </a:spcBef>
              <a:defRPr/>
            </a:pPr>
            <a:endParaRPr lang="en-US" sz="1500" noProof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E57279EF-5AB7-413E-A336-8FA244B749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D51C5D-5ADB-464A-87C8-AB612A4206C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6F0B60F-5307-4825-8A7C-D345A92B2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8440954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2">
            <a:extLst>
              <a:ext uri="{FF2B5EF4-FFF2-40B4-BE49-F238E27FC236}">
                <a16:creationId xmlns:a16="http://schemas.microsoft.com/office/drawing/2014/main" id="{C390E7B1-1EBB-4C56-B608-4B7A03885075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433513" y="1435100"/>
            <a:ext cx="72342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9083066-E21E-47A4-9528-C3708D2CE4B5}"/>
              </a:ext>
            </a:extLst>
          </p:cNvPr>
          <p:cNvSpPr/>
          <p:nvPr userDrawn="1"/>
        </p:nvSpPr>
        <p:spPr>
          <a:xfrm>
            <a:off x="711200" y="1373188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5" name="Content Placeholder 22">
            <a:extLst>
              <a:ext uri="{FF2B5EF4-FFF2-40B4-BE49-F238E27FC236}">
                <a16:creationId xmlns:a16="http://schemas.microsoft.com/office/drawing/2014/main" id="{1BD5C2F4-7A30-4102-9FA4-0BA3E876C1AF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814513" y="2917825"/>
            <a:ext cx="681513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48CD4A6-1421-4DC0-A367-BA5375F36B49}"/>
              </a:ext>
            </a:extLst>
          </p:cNvPr>
          <p:cNvSpPr/>
          <p:nvPr userDrawn="1"/>
        </p:nvSpPr>
        <p:spPr>
          <a:xfrm>
            <a:off x="1092200" y="285591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7" name="Content Placeholder 22">
            <a:extLst>
              <a:ext uri="{FF2B5EF4-FFF2-40B4-BE49-F238E27FC236}">
                <a16:creationId xmlns:a16="http://schemas.microsoft.com/office/drawing/2014/main" id="{F206C926-7933-44A5-BA48-DA37EF84BE7E}"/>
              </a:ext>
            </a:extLst>
          </p:cNvPr>
          <p:cNvSpPr>
            <a:spLocks noGrp="1"/>
          </p:cNvSpPr>
          <p:nvPr userDrawn="1"/>
        </p:nvSpPr>
        <p:spPr bwMode="auto">
          <a:xfrm>
            <a:off x="1503363" y="4475163"/>
            <a:ext cx="7138987" cy="1003300"/>
          </a:xfrm>
          <a:prstGeom prst="rect">
            <a:avLst/>
          </a:prstGeom>
          <a:solidFill>
            <a:srgbClr val="C9F1FF"/>
          </a:solidFill>
          <a:ln w="12700">
            <a:solidFill>
              <a:srgbClr val="00B0F0"/>
            </a:solidFill>
            <a:miter lim="800000"/>
            <a:headEnd/>
            <a:tailEnd/>
          </a:ln>
        </p:spPr>
        <p:txBody>
          <a:bodyPr lIns="337962" tIns="42245" rIns="42245" bIns="42245" anchor="ctr"/>
          <a:lstStyle>
            <a:lvl1pPr marL="211138" indent="-211138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363" indent="-131763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65138" indent="-9525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4875" indent="-212725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7763" indent="-241300" defTabSz="9413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049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0621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193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76563" indent="-241300" defTabSz="941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ts val="550"/>
              </a:spcBef>
              <a:buClr>
                <a:srgbClr val="004080"/>
              </a:buClr>
              <a:buSzPct val="90000"/>
              <a:buFont typeface="Wingdings" panose="05000000000000000000" pitchFamily="2" charset="2"/>
              <a:buChar char="n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1</a:t>
            </a:r>
          </a:p>
          <a:p>
            <a:pPr lvl="1" eaLnBrk="1" hangingPunct="1">
              <a:spcBef>
                <a:spcPts val="375"/>
              </a:spcBef>
              <a:buClr>
                <a:srgbClr val="004080"/>
              </a:buClr>
              <a:buSzPct val="100000"/>
              <a:buFont typeface="Arial" panose="020B0604020202020204" pitchFamily="34" charset="0"/>
              <a:buChar char="–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2</a:t>
            </a:r>
          </a:p>
          <a:p>
            <a:pPr lvl="2" eaLnBrk="1" hangingPunct="1">
              <a:spcBef>
                <a:spcPts val="188"/>
              </a:spcBef>
              <a:buClr>
                <a:srgbClr val="004080"/>
              </a:buClr>
              <a:buSzPct val="100000"/>
              <a:buFont typeface="Wingdings" panose="05000000000000000000" pitchFamily="2" charset="2"/>
              <a:buChar char="w"/>
              <a:defRPr/>
            </a:pPr>
            <a:r>
              <a:rPr lang="en-US" altLang="en-US" sz="1300">
                <a:solidFill>
                  <a:srgbClr val="000000"/>
                </a:solidFill>
              </a:rPr>
              <a:t>Sample 3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A128C00-EF4E-430D-AD72-9284B5A4B41E}"/>
              </a:ext>
            </a:extLst>
          </p:cNvPr>
          <p:cNvSpPr/>
          <p:nvPr userDrawn="1"/>
        </p:nvSpPr>
        <p:spPr>
          <a:xfrm>
            <a:off x="781050" y="4411663"/>
            <a:ext cx="995363" cy="1135062"/>
          </a:xfrm>
          <a:prstGeom prst="ellipse">
            <a:avLst/>
          </a:prstGeom>
          <a:solidFill>
            <a:srgbClr val="00B0F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lIns="84491" tIns="42245" rIns="84491" bIns="42245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906" eaLnBrk="1" hangingPunct="1">
              <a:defRPr/>
            </a:pPr>
            <a:r>
              <a:rPr lang="en-US" sz="1300" b="1" dirty="0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10A3720-B33F-4C08-8EDA-6FD9A3B59A1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5580A3-AE06-4A20-8A55-BFB625E0885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FE0CEDA-26CA-4A93-B9BD-F5780B775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3999547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1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ijdelijke aanduiding voor dianummer 5">
            <a:extLst>
              <a:ext uri="{FF2B5EF4-FFF2-40B4-BE49-F238E27FC236}">
                <a16:creationId xmlns:a16="http://schemas.microsoft.com/office/drawing/2014/main" id="{B5EE07FC-AD8C-45E3-AB0D-E24623DFA5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36024C8-D9AC-40AA-ADD8-1B067859C6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14928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27" y="521882"/>
            <a:ext cx="877373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332646" y="1919652"/>
            <a:ext cx="4201185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790835" y="1919652"/>
            <a:ext cx="4153577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06102" y="1050850"/>
            <a:ext cx="8787638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32646" y="2261652"/>
            <a:ext cx="420118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790884" y="2261652"/>
            <a:ext cx="4153577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8211E4CF-30E7-48F3-94BC-40DE8B3E3423}"/>
              </a:ext>
            </a:extLst>
          </p:cNvPr>
          <p:cNvSpPr>
            <a:spLocks noGrp="1" noChangeArrowheads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B76F40-D4D0-4FA1-9CF2-245DFEE91E1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761E8C0A-A669-446D-AD5E-001EA2DDD53C}"/>
              </a:ext>
            </a:extLst>
          </p:cNvPr>
          <p:cNvSpPr>
            <a:spLocks noGrp="1" noChangeArrowheads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</p:spTree>
    <p:extLst>
      <p:ext uri="{BB962C8B-B14F-4D97-AF65-F5344CB8AC3E}">
        <p14:creationId xmlns:p14="http://schemas.microsoft.com/office/powerpoint/2010/main" val="3084911134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PP header horizon met logo's">
            <a:extLst>
              <a:ext uri="{FF2B5EF4-FFF2-40B4-BE49-F238E27FC236}">
                <a16:creationId xmlns:a16="http://schemas.microsoft.com/office/drawing/2014/main" id="{227A6801-2852-49A7-A7EE-2922A46BEB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75" y="407988"/>
            <a:ext cx="9147175" cy="156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4814" y="2374900"/>
            <a:ext cx="8332787" cy="1144588"/>
          </a:xfrm>
        </p:spPr>
        <p:txBody>
          <a:bodyPr bIns="45718"/>
          <a:lstStyle>
            <a:lvl1pPr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4814" y="6191251"/>
            <a:ext cx="8332787" cy="417513"/>
          </a:xfrm>
        </p:spPr>
        <p:txBody>
          <a:bodyPr tIns="45718" rIns="91435" bIns="45718"/>
          <a:lstStyle>
            <a:lvl1pPr marL="0" indent="0">
              <a:buFontTx/>
              <a:buNone/>
              <a:defRPr sz="18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7993731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5"/>
          </p:nvPr>
        </p:nvSpPr>
        <p:spPr>
          <a:xfrm>
            <a:off x="209444" y="1094240"/>
            <a:ext cx="8710375" cy="5204657"/>
          </a:xfrm>
        </p:spPr>
        <p:txBody>
          <a:bodyPr/>
          <a:lstStyle>
            <a:lvl1pPr>
              <a:defRPr sz="1500">
                <a:latin typeface="Arial" pitchFamily="34" charset="0"/>
                <a:cs typeface="Arial" pitchFamily="34" charset="0"/>
              </a:defRPr>
            </a:lvl1pPr>
            <a:lvl2pPr>
              <a:defRPr sz="1300">
                <a:latin typeface="Arial" pitchFamily="34" charset="0"/>
                <a:cs typeface="Arial" pitchFamily="34" charset="0"/>
              </a:defRPr>
            </a:lvl2pPr>
            <a:lvl3pPr marL="539975" indent="-179992">
              <a:buClr>
                <a:schemeClr val="tx2"/>
              </a:buClr>
              <a:buFont typeface="Wingdings" pitchFamily="2" charset="2"/>
              <a:buChar char="§"/>
              <a:defRPr sz="11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A31E3000-E941-466C-9660-A23124BCA15F}"/>
              </a:ext>
            </a:extLst>
          </p:cNvPr>
          <p:cNvSpPr>
            <a:spLocks noGrp="1" noChangeArrowheads="1"/>
          </p:cNvSpPr>
          <p:nvPr>
            <p:ph type="ftr" sz="quarter" idx="16"/>
          </p:nvPr>
        </p:nvSpPr>
        <p:spPr>
          <a:xfrm>
            <a:off x="1984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8992A003-ACC0-45B2-88F3-C73D328E71D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810625" y="192088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9EE294BD-7172-44AB-97F8-458A719F29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60404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40860BB-B90A-4D27-986B-8AD7D5197E0B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831975"/>
            <a:ext cx="705802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FE41B4E3-60A4-4E9E-8BC6-2C12B77B0D9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838325"/>
            <a:ext cx="841375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12EDBCB-DEBA-4A43-A6F4-31136091933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3975" y="247491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8E3929A8-5D1A-4092-8110-91D0DB555E6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081338"/>
            <a:ext cx="7058025" cy="550862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CA582406-2D5A-45D8-907A-05A519A68370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2474913"/>
            <a:ext cx="820738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6E4D1644-4ABC-421E-A8AF-9244E0DD754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3081338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94DDFB35-107B-4B8A-910F-773E3A7CC69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1209675"/>
            <a:ext cx="705802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IN" sz="1500" b="1" noProof="1">
                <a:solidFill>
                  <a:srgbClr val="5A245A">
                    <a:lumMod val="90000"/>
                    <a:lumOff val="1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15">
            <a:extLst>
              <a:ext uri="{FF2B5EF4-FFF2-40B4-BE49-F238E27FC236}">
                <a16:creationId xmlns:a16="http://schemas.microsoft.com/office/drawing/2014/main" id="{C3DB29A6-D644-4F61-84B5-612DBC1BA3F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1209675"/>
            <a:ext cx="841375" cy="530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0EF732C9-E636-43BE-870C-4B44189917C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4321175"/>
            <a:ext cx="7058025" cy="550863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D19744-EC6F-4134-AF9A-1FCC31A2743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2275" y="4321175"/>
            <a:ext cx="820738" cy="530225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B93629FB-6D46-4585-888C-25AF5006BEC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8738" y="3725863"/>
            <a:ext cx="7058025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5045" tIns="67154" rIns="67154" bIns="67154" anchor="ctr"/>
          <a:lstStyle/>
          <a:p>
            <a:pPr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ED8209-5868-4755-8684-44A10FC1DF5E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28625" y="3725863"/>
            <a:ext cx="819150" cy="495300"/>
          </a:xfrm>
          <a:prstGeom prst="rect">
            <a:avLst/>
          </a:prstGeom>
          <a:solidFill>
            <a:schemeClr val="tx2">
              <a:lumMod val="5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154" tIns="67154" rIns="67154" bIns="67154" anchor="ctr"/>
          <a:lstStyle/>
          <a:p>
            <a:pPr algn="ctr">
              <a:spcBef>
                <a:spcPct val="25000"/>
              </a:spcBef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50442678-CB35-4C42-BEE9-445F88ED42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1D683-CA95-4FEC-BE25-212B24D7629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8C42D3F4-67FB-4C25-ABDF-035C27B3A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945625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E61653B-31C2-413C-AD17-17E82FE98B8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08100" y="2417763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Rectangle 15">
            <a:extLst>
              <a:ext uri="{FF2B5EF4-FFF2-40B4-BE49-F238E27FC236}">
                <a16:creationId xmlns:a16="http://schemas.microsoft.com/office/drawing/2014/main" id="{74236C36-9C31-4034-B7DD-AA0AB55380B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766888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90A102-04EF-4705-8924-8741C5D9B76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3055938"/>
            <a:ext cx="7058025" cy="4953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Rectangle 15">
            <a:extLst>
              <a:ext uri="{FF2B5EF4-FFF2-40B4-BE49-F238E27FC236}">
                <a16:creationId xmlns:a16="http://schemas.microsoft.com/office/drawing/2014/main" id="{0C3CE04B-BA6C-401F-AD68-B77CF8EE409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2405063"/>
            <a:ext cx="820738" cy="49530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F4297C7-E69B-4055-BDA0-CB226C126E7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1139825"/>
            <a:ext cx="7058025" cy="53022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Rectangle 15">
            <a:extLst>
              <a:ext uri="{FF2B5EF4-FFF2-40B4-BE49-F238E27FC236}">
                <a16:creationId xmlns:a16="http://schemas.microsoft.com/office/drawing/2014/main" id="{3CB737EE-FAB8-486F-9D62-8FA3A1F4222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1139825"/>
            <a:ext cx="841375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C4A54531-E495-423A-B19C-F67660EC881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6038" y="3676650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D82A9D-F97C-450C-9CD2-3AD0DD479C32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9575" y="3025775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C17AD20D-175A-4D30-99C5-B514ABB2EED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1275" y="437832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A5722A-471C-43C5-B9D3-A80517F5239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4813" y="3727450"/>
            <a:ext cx="819150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8DD6963F-200D-41F1-A7F8-86DBD7359E84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20800" y="1781175"/>
            <a:ext cx="7058025" cy="5508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4584E96-B6F0-4590-8E24-510A5A38673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1638" y="4430713"/>
            <a:ext cx="819150" cy="528637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6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E4DD296A-59FE-457F-96C3-4B66EF1B828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1319213" y="5126038"/>
            <a:ext cx="7058025" cy="55086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234843" tIns="67099" rIns="67099" bIns="67099" anchor="ctr"/>
          <a:lstStyle/>
          <a:p>
            <a:pPr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IN" sz="1500" b="1" noProof="1">
                <a:solidFill>
                  <a:srgbClr val="3D7EDB">
                    <a:lumMod val="50000"/>
                  </a:srgbClr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3375C2-082A-483B-9E23-25929FD16E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12750" y="5138738"/>
            <a:ext cx="820738" cy="530225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lIns="67099" tIns="67099" rIns="67099" bIns="67099" anchor="ctr"/>
          <a:lstStyle/>
          <a:p>
            <a:pPr algn="ctr" defTabSz="919069" fontAlgn="auto">
              <a:spcBef>
                <a:spcPct val="25000"/>
              </a:spcBef>
              <a:spcAft>
                <a:spcPts val="0"/>
              </a:spcAft>
              <a:defRPr/>
            </a:pPr>
            <a:r>
              <a:rPr lang="en-US" sz="1500" b="1" noProof="1">
                <a:solidFill>
                  <a:srgbClr val="FFFFFF"/>
                </a:solidFill>
                <a:latin typeface="Arial"/>
                <a:cs typeface="Arial"/>
              </a:rPr>
              <a:t>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08D3934C-C3DE-43F0-8F92-D24BF603C1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63900-CB8A-4A83-A4AA-4DC7C988654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1290142F-1265-4CDB-A3AC-383699651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422551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23CD934-D1A5-4771-9B5D-B8F906F44B40}"/>
              </a:ext>
            </a:extLst>
          </p:cNvPr>
          <p:cNvSpPr/>
          <p:nvPr userDrawn="1"/>
        </p:nvSpPr>
        <p:spPr>
          <a:xfrm>
            <a:off x="746125" y="1420813"/>
            <a:ext cx="7800975" cy="5111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4" name="Oval 259">
            <a:extLst>
              <a:ext uri="{FF2B5EF4-FFF2-40B4-BE49-F238E27FC236}">
                <a16:creationId xmlns:a16="http://schemas.microsoft.com/office/drawing/2014/main" id="{97DB3125-4B69-413F-927F-18215CA0A40C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454025" y="14351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77C1F3A-FEAB-4FDD-9345-43A040B4F1AF}"/>
              </a:ext>
            </a:extLst>
          </p:cNvPr>
          <p:cNvSpPr/>
          <p:nvPr userDrawn="1"/>
        </p:nvSpPr>
        <p:spPr>
          <a:xfrm>
            <a:off x="746125" y="2286000"/>
            <a:ext cx="7800975" cy="555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6" name="Oval 260">
            <a:extLst>
              <a:ext uri="{FF2B5EF4-FFF2-40B4-BE49-F238E27FC236}">
                <a16:creationId xmlns:a16="http://schemas.microsoft.com/office/drawing/2014/main" id="{8125E747-F786-45F2-A15B-797B5FB9EFD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454025" y="2351088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2F262F7-915C-488C-B2F2-A17A3FDE872A}"/>
              </a:ext>
            </a:extLst>
          </p:cNvPr>
          <p:cNvSpPr/>
          <p:nvPr userDrawn="1"/>
        </p:nvSpPr>
        <p:spPr>
          <a:xfrm>
            <a:off x="746125" y="3195638"/>
            <a:ext cx="7800975" cy="5699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8" name="Oval 261">
            <a:extLst>
              <a:ext uri="{FF2B5EF4-FFF2-40B4-BE49-F238E27FC236}">
                <a16:creationId xmlns:a16="http://schemas.microsoft.com/office/drawing/2014/main" id="{089A3018-4B53-4BB7-B5EA-C526253120A9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47675" y="3251200"/>
            <a:ext cx="390525" cy="43338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426E-10DC-4F29-8CBF-809B46431F9B}"/>
              </a:ext>
            </a:extLst>
          </p:cNvPr>
          <p:cNvSpPr/>
          <p:nvPr userDrawn="1"/>
        </p:nvSpPr>
        <p:spPr>
          <a:xfrm>
            <a:off x="746125" y="4119563"/>
            <a:ext cx="7800975" cy="54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247898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0" name="Oval 262">
            <a:extLst>
              <a:ext uri="{FF2B5EF4-FFF2-40B4-BE49-F238E27FC236}">
                <a16:creationId xmlns:a16="http://schemas.microsoft.com/office/drawing/2014/main" id="{A9CDAAEC-BA8A-4765-B2FD-EE733AB09F3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461963" y="4154488"/>
            <a:ext cx="388937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75B44D-0201-420A-A2C8-D895836B4D5F}"/>
              </a:ext>
            </a:extLst>
          </p:cNvPr>
          <p:cNvSpPr/>
          <p:nvPr userDrawn="1"/>
        </p:nvSpPr>
        <p:spPr>
          <a:xfrm>
            <a:off x="746125" y="5016500"/>
            <a:ext cx="7800975" cy="49371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84491" tIns="42245" rIns="84491" bIns="42245" anchor="ctr">
            <a:normAutofit/>
          </a:bodyPr>
          <a:lstStyle/>
          <a:p>
            <a:pPr marL="159887" algn="just" eaLnBrk="1" hangingPunct="1">
              <a:defRPr/>
            </a:pPr>
            <a:r>
              <a:rPr lang="en-IN" sz="1500" b="1" dirty="0">
                <a:solidFill>
                  <a:srgbClr val="000000"/>
                </a:solidFill>
                <a:latin typeface="Arial"/>
                <a:cs typeface="Arial"/>
              </a:rPr>
              <a:t>Text</a:t>
            </a:r>
          </a:p>
        </p:txBody>
      </p:sp>
      <p:sp>
        <p:nvSpPr>
          <p:cNvPr id="12" name="Oval 263">
            <a:extLst>
              <a:ext uri="{FF2B5EF4-FFF2-40B4-BE49-F238E27FC236}">
                <a16:creationId xmlns:a16="http://schemas.microsoft.com/office/drawing/2014/main" id="{28CAD871-A3EE-48DB-950A-6C63C3D836C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469900" y="5046663"/>
            <a:ext cx="390525" cy="433387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84491" tIns="42245" rIns="84491" bIns="42245" anchor="ctr"/>
          <a:lstStyle/>
          <a:p>
            <a:pPr algn="ctr" defTabSz="84490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kern="0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726" y="521890"/>
            <a:ext cx="8724454" cy="360363"/>
          </a:xfrm>
        </p:spPr>
        <p:txBody>
          <a:bodyPr/>
          <a:lstStyle>
            <a:lvl1pPr>
              <a:defRPr sz="2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A7EF3B-4CB6-4D0F-9657-78D93E88B31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xfrm>
            <a:off x="185738" y="166688"/>
            <a:ext cx="3598862" cy="2159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14" name="Tijdelijke aanduiding voor dianummer 5">
            <a:extLst>
              <a:ext uri="{FF2B5EF4-FFF2-40B4-BE49-F238E27FC236}">
                <a16:creationId xmlns:a16="http://schemas.microsoft.com/office/drawing/2014/main" id="{D2BFA168-D6A7-4BCC-B0BC-C41960984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10625" y="206375"/>
            <a:ext cx="244475" cy="219075"/>
          </a:xfrm>
        </p:spPr>
        <p:txBody>
          <a:bodyPr tIns="44104" rIns="69455" bIns="44104" rtlCol="0" anchor="ctr"/>
          <a:lstStyle>
            <a:lvl1pPr algn="l"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BB617717-A2BF-48EC-951D-FCF88B3C6B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74217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842" y="493824"/>
            <a:ext cx="8882858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169142" y="1008763"/>
            <a:ext cx="8750677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2426243" y="1596984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2426243" y="4884939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2426243" y="3240961"/>
            <a:ext cx="6397200" cy="13176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ijdelijke aanduiding voor afbeelding 12"/>
          <p:cNvSpPr>
            <a:spLocks noGrp="1"/>
          </p:cNvSpPr>
          <p:nvPr>
            <p:ph type="pic" sz="quarter" idx="22"/>
          </p:nvPr>
        </p:nvSpPr>
        <p:spPr>
          <a:xfrm>
            <a:off x="234086" y="1596984"/>
            <a:ext cx="2013771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/>
          </p:cNvSpPr>
          <p:nvPr>
            <p:ph type="pic" sz="quarter" idx="23"/>
          </p:nvPr>
        </p:nvSpPr>
        <p:spPr>
          <a:xfrm>
            <a:off x="221766" y="3240961"/>
            <a:ext cx="202447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5" name="Tijdelijke aanduiding voor afbeelding 12"/>
          <p:cNvSpPr>
            <a:spLocks noGrp="1"/>
          </p:cNvSpPr>
          <p:nvPr>
            <p:ph type="pic" sz="quarter" idx="24"/>
          </p:nvPr>
        </p:nvSpPr>
        <p:spPr>
          <a:xfrm>
            <a:off x="246406" y="4884939"/>
            <a:ext cx="1999838" cy="1317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2A0652B9-CD88-4B79-8EBF-549FE2ADCC76}"/>
              </a:ext>
            </a:extLst>
          </p:cNvPr>
          <p:cNvSpPr>
            <a:spLocks noGrp="1" noChangeArrowheads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234FBD-88F0-4D3A-ABB9-16A77DC5887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AD3E8C0-0BB1-419C-B3CB-4489427A76C4}"/>
              </a:ext>
            </a:extLst>
          </p:cNvPr>
          <p:cNvSpPr>
            <a:spLocks noGrp="1" noChangeArrowheads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</a:p>
        </p:txBody>
      </p:sp>
    </p:spTree>
    <p:extLst>
      <p:ext uri="{BB962C8B-B14F-4D97-AF65-F5344CB8AC3E}">
        <p14:creationId xmlns:p14="http://schemas.microsoft.com/office/powerpoint/2010/main" val="922527354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254400" y="20880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3254400" y="4377600"/>
            <a:ext cx="5486400" cy="2016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jdelijke aanduiding voor afbeelding 12"/>
          <p:cNvSpPr>
            <a:spLocks noGrp="1" noChangeAspect="1"/>
          </p:cNvSpPr>
          <p:nvPr>
            <p:ph type="pic" sz="quarter" idx="22"/>
          </p:nvPr>
        </p:nvSpPr>
        <p:spPr>
          <a:xfrm>
            <a:off x="404813" y="20880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14" name="Tijdelijke aanduiding voor afbeelding 12"/>
          <p:cNvSpPr>
            <a:spLocks noGrp="1" noChangeAspect="1"/>
          </p:cNvSpPr>
          <p:nvPr>
            <p:ph type="pic" sz="quarter" idx="23"/>
          </p:nvPr>
        </p:nvSpPr>
        <p:spPr>
          <a:xfrm>
            <a:off x="403200" y="4377600"/>
            <a:ext cx="2635200" cy="2016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0F9A6788-2A8B-4A41-B60D-DE9D092A82FF}"/>
              </a:ext>
            </a:extLst>
          </p:cNvPr>
          <p:cNvSpPr>
            <a:spLocks noGrp="1" noChangeArrowheads="1"/>
          </p:cNvSpPr>
          <p:nvPr>
            <p:ph type="sldNum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8C3C8-9EEC-4BE8-A000-B59B360709D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93219E8E-706F-46C9-9FF4-F8023DFD0662}"/>
              </a:ext>
            </a:extLst>
          </p:cNvPr>
          <p:cNvSpPr>
            <a:spLocks noGrp="1" noChangeArrowheads="1"/>
          </p:cNvSpPr>
          <p:nvPr>
            <p:ph type="ftr" sz="quarter" idx="2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56254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27" y="521882"/>
            <a:ext cx="8773733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332646" y="1919652"/>
            <a:ext cx="4201185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4790835" y="1919652"/>
            <a:ext cx="4153577" cy="360000"/>
          </a:xfrm>
          <a:solidFill>
            <a:schemeClr val="accent5">
              <a:lumMod val="60000"/>
              <a:lumOff val="4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206102" y="1050850"/>
            <a:ext cx="8787638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332646" y="2261652"/>
            <a:ext cx="4201185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4790884" y="2261652"/>
            <a:ext cx="4153577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0D6E74B-1EE6-44F6-8080-2778DADA145E}"/>
              </a:ext>
            </a:extLst>
          </p:cNvPr>
          <p:cNvSpPr>
            <a:spLocks noGrp="1" noChangeArrowheads="1"/>
          </p:cNvSpPr>
          <p:nvPr>
            <p:ph type="sldNum" sz="quarter" idx="2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C3861-D863-4467-95C7-0150738EF6E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0978082-A4F7-4A58-BB13-33C697F26DDC}"/>
              </a:ext>
            </a:extLst>
          </p:cNvPr>
          <p:cNvSpPr>
            <a:spLocks noGrp="1" noChangeArrowheads="1"/>
          </p:cNvSpPr>
          <p:nvPr>
            <p:ph type="ftr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39175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7" name="Tijdelijke aanduiding voor tekst 15"/>
          <p:cNvSpPr>
            <a:spLocks noGrp="1"/>
          </p:cNvSpPr>
          <p:nvPr>
            <p:ph type="body" sz="quarter" idx="15"/>
          </p:nvPr>
        </p:nvSpPr>
        <p:spPr>
          <a:xfrm>
            <a:off x="3258000" y="2088000"/>
            <a:ext cx="26352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jdelijke aanduiding voor tekst 15"/>
          <p:cNvSpPr>
            <a:spLocks noGrp="1"/>
          </p:cNvSpPr>
          <p:nvPr>
            <p:ph type="body" sz="quarter" idx="18"/>
          </p:nvPr>
        </p:nvSpPr>
        <p:spPr>
          <a:xfrm>
            <a:off x="6102000" y="2088000"/>
            <a:ext cx="26352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9"/>
          </p:nvPr>
        </p:nvSpPr>
        <p:spPr>
          <a:xfrm>
            <a:off x="4032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ijdelijke aanduiding voor tekst 20"/>
          <p:cNvSpPr>
            <a:spLocks noGrp="1"/>
          </p:cNvSpPr>
          <p:nvPr>
            <p:ph type="body" sz="quarter" idx="20"/>
          </p:nvPr>
        </p:nvSpPr>
        <p:spPr>
          <a:xfrm>
            <a:off x="3258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ijdelijke aanduiding voor tekst 20"/>
          <p:cNvSpPr>
            <a:spLocks noGrp="1"/>
          </p:cNvSpPr>
          <p:nvPr>
            <p:ph type="body" sz="quarter" idx="21"/>
          </p:nvPr>
        </p:nvSpPr>
        <p:spPr>
          <a:xfrm>
            <a:off x="6102000" y="2430000"/>
            <a:ext cx="2635200" cy="3927600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01CA58C-425A-4B2C-B70A-F53E57883C4A}"/>
              </a:ext>
            </a:extLst>
          </p:cNvPr>
          <p:cNvSpPr>
            <a:spLocks noGrp="1" noChangeArrowheads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E5D2E2-724E-4978-B8D8-46104EC7D0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F714628-855B-4294-A07B-F2AF9B420BDE}"/>
              </a:ext>
            </a:extLst>
          </p:cNvPr>
          <p:cNvSpPr>
            <a:spLocks noGrp="1" noChangeArrowheads="1"/>
          </p:cNvSpPr>
          <p:nvPr>
            <p:ph type="ftr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96203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4814" y="844550"/>
            <a:ext cx="8332787" cy="360363"/>
          </a:xfrm>
        </p:spPr>
        <p:txBody>
          <a:bodyPr/>
          <a:lstStyle>
            <a:lvl1pPr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6" name="Tijdelijke aanduiding voor tekst 15"/>
          <p:cNvSpPr>
            <a:spLocks noGrp="1"/>
          </p:cNvSpPr>
          <p:nvPr>
            <p:ph type="body" sz="quarter" idx="14"/>
          </p:nvPr>
        </p:nvSpPr>
        <p:spPr>
          <a:xfrm>
            <a:off x="403200" y="2088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03225" y="1513797"/>
            <a:ext cx="8348663" cy="369887"/>
          </a:xfrm>
        </p:spPr>
        <p:txBody>
          <a:bodyPr/>
          <a:lstStyle>
            <a:lvl1pPr>
              <a:buNone/>
              <a:defRPr sz="15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ijdelijke aanduiding voor tekst 10"/>
          <p:cNvSpPr>
            <a:spLocks noGrp="1"/>
          </p:cNvSpPr>
          <p:nvPr>
            <p:ph type="body" sz="quarter" idx="18"/>
          </p:nvPr>
        </p:nvSpPr>
        <p:spPr>
          <a:xfrm>
            <a:off x="403200" y="2448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jdelijke aanduiding voor tekst 10"/>
          <p:cNvSpPr>
            <a:spLocks noGrp="1"/>
          </p:cNvSpPr>
          <p:nvPr>
            <p:ph type="body" sz="quarter" idx="19"/>
          </p:nvPr>
        </p:nvSpPr>
        <p:spPr>
          <a:xfrm>
            <a:off x="403226" y="39132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ijdelijke aanduiding voor tekst 10"/>
          <p:cNvSpPr>
            <a:spLocks noGrp="1"/>
          </p:cNvSpPr>
          <p:nvPr>
            <p:ph type="body" sz="quarter" idx="20"/>
          </p:nvPr>
        </p:nvSpPr>
        <p:spPr>
          <a:xfrm>
            <a:off x="403226" y="5382000"/>
            <a:ext cx="8334375" cy="957600"/>
          </a:xfrm>
        </p:spPr>
        <p:txBody>
          <a:bodyPr/>
          <a:lstStyle>
            <a:lvl1pPr>
              <a:spcBef>
                <a:spcPts val="0"/>
              </a:spcBef>
              <a:defRPr sz="1300"/>
            </a:lvl1pPr>
            <a:lvl2pPr>
              <a:spcBef>
                <a:spcPts val="0"/>
              </a:spcBef>
              <a:defRPr sz="13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jdelijke aanduiding voor tekst 15"/>
          <p:cNvSpPr>
            <a:spLocks noGrp="1"/>
          </p:cNvSpPr>
          <p:nvPr>
            <p:ph type="body" sz="quarter" idx="21"/>
          </p:nvPr>
        </p:nvSpPr>
        <p:spPr>
          <a:xfrm>
            <a:off x="403200" y="3553200"/>
            <a:ext cx="8334400" cy="360000"/>
          </a:xfrm>
          <a:solidFill>
            <a:schemeClr val="bg1">
              <a:lumMod val="85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ijdelijke aanduiding voor tekst 15"/>
          <p:cNvSpPr>
            <a:spLocks noGrp="1"/>
          </p:cNvSpPr>
          <p:nvPr>
            <p:ph type="body" sz="quarter" idx="22"/>
          </p:nvPr>
        </p:nvSpPr>
        <p:spPr>
          <a:xfrm>
            <a:off x="403225" y="5022000"/>
            <a:ext cx="8334400" cy="360000"/>
          </a:xfrm>
          <a:solidFill>
            <a:schemeClr val="tx2">
              <a:lumMod val="20000"/>
              <a:lumOff val="80000"/>
            </a:schemeClr>
          </a:solidFill>
        </p:spPr>
        <p:txBody>
          <a:bodyPr lIns="179992" anchor="ctr"/>
          <a:lstStyle>
            <a:lvl1pPr marL="0" indent="0" algn="l">
              <a:spcBef>
                <a:spcPts val="0"/>
              </a:spcBef>
              <a:buNone/>
              <a:defRPr sz="13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5pPr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75B8F313-0CEC-4F00-8EF6-0C8F587077B4}"/>
              </a:ext>
            </a:extLst>
          </p:cNvPr>
          <p:cNvSpPr>
            <a:spLocks noGrp="1" noChangeArrowheads="1"/>
          </p:cNvSpPr>
          <p:nvPr>
            <p:ph type="sldNum" sz="quarter" idx="2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B7D15F-EB48-4C44-B123-19ACB54108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27B900D-6451-478F-AD03-191C5DAEFFD8}"/>
              </a:ext>
            </a:extLst>
          </p:cNvPr>
          <p:cNvSpPr>
            <a:spLocks noGrp="1" noChangeArrowheads="1"/>
          </p:cNvSpPr>
          <p:nvPr>
            <p:ph type="ftr" sz="quarter" idx="2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33405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19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heme" Target="../theme/theme3.xml"/><Relationship Id="rId30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ags" Target="../tags/tag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92.xml"/><Relationship Id="rId21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slideLayout" Target="../slideLayouts/slideLayout10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slideLayout" Target="../slideLayouts/slideLayout112.xml"/><Relationship Id="rId28" Type="http://schemas.openxmlformats.org/officeDocument/2006/relationships/tags" Target="../tags/tag53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slideLayout" Target="../slideLayouts/slideLayout111.xml"/><Relationship Id="rId27" Type="http://schemas.openxmlformats.org/officeDocument/2006/relationships/theme" Target="../theme/theme5.xml"/><Relationship Id="rId30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Object 9" hidden="1">
            <a:extLst>
              <a:ext uri="{FF2B5EF4-FFF2-40B4-BE49-F238E27FC236}">
                <a16:creationId xmlns:a16="http://schemas.microsoft.com/office/drawing/2014/main" id="{05B80430-D9F1-4EB4-96F5-FED51DDC6EE9}"/>
              </a:ext>
            </a:extLst>
          </p:cNvPr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9" descr="PP balk">
            <a:extLst>
              <a:ext uri="{FF2B5EF4-FFF2-40B4-BE49-F238E27FC236}">
                <a16:creationId xmlns:a16="http://schemas.microsoft.com/office/drawing/2014/main" id="{D720D018-51BB-421C-9DDA-CD244A512C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" b="540"/>
          <a:stretch>
            <a:fillRect/>
          </a:stretch>
        </p:blipFill>
        <p:spPr bwMode="auto">
          <a:xfrm>
            <a:off x="123825" y="114300"/>
            <a:ext cx="90201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>
            <a:extLst>
              <a:ext uri="{FF2B5EF4-FFF2-40B4-BE49-F238E27FC236}">
                <a16:creationId xmlns:a16="http://schemas.microsoft.com/office/drawing/2014/main" id="{31DAEA19-E862-486B-ABEE-238FBA5EC18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592138"/>
            <a:ext cx="89185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35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1029" name="Rectangle 3">
            <a:extLst>
              <a:ext uri="{FF2B5EF4-FFF2-40B4-BE49-F238E27FC236}">
                <a16:creationId xmlns:a16="http://schemas.microsoft.com/office/drawing/2014/main" id="{7707A347-676C-4CA6-B054-4FF16BDA8B2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825" y="1444625"/>
            <a:ext cx="8882063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96" rIns="71996" bIns="71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43365" name="Rectangle 5">
            <a:extLst>
              <a:ext uri="{FF2B5EF4-FFF2-40B4-BE49-F238E27FC236}">
                <a16:creationId xmlns:a16="http://schemas.microsoft.com/office/drawing/2014/main" id="{2F160A19-BA1B-4A9F-83C4-473BC3ECF33D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166688"/>
            <a:ext cx="503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6F3237C-677C-4C1E-9E39-E8333E1D13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>
            <a:extLst>
              <a:ext uri="{FF2B5EF4-FFF2-40B4-BE49-F238E27FC236}">
                <a16:creationId xmlns:a16="http://schemas.microsoft.com/office/drawing/2014/main" id="{EF1F4C03-24FD-431A-85D9-C447615FDFC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166688"/>
            <a:ext cx="35988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RMC</a:t>
            </a:r>
          </a:p>
        </p:txBody>
      </p:sp>
      <p:sp>
        <p:nvSpPr>
          <p:cNvPr id="1032" name="Text Box 7">
            <a:extLst>
              <a:ext uri="{FF2B5EF4-FFF2-40B4-BE49-F238E27FC236}">
                <a16:creationId xmlns:a16="http://schemas.microsoft.com/office/drawing/2014/main" id="{2AF2D8EE-B2FB-4205-BF37-76D8939689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53338" y="166688"/>
            <a:ext cx="10080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0" bIns="4571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chemeClr val="bg1"/>
                </a:solidFill>
              </a:rPr>
              <a:t>Slide</a:t>
            </a:r>
          </a:p>
        </p:txBody>
      </p:sp>
      <p:sp>
        <p:nvSpPr>
          <p:cNvPr id="1033" name="Text Box 8">
            <a:extLst>
              <a:ext uri="{FF2B5EF4-FFF2-40B4-BE49-F238E27FC236}">
                <a16:creationId xmlns:a16="http://schemas.microsoft.com/office/drawing/2014/main" id="{E7C7BC0D-6803-4CDC-AD7D-7C4FEC7201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7975" y="166688"/>
            <a:ext cx="914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46798" rIns="0" bIns="467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chemeClr val="bg1"/>
                </a:solidFill>
              </a:rPr>
              <a:t>Tata Ste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167" r:id="rId1"/>
    <p:sldLayoutId id="2147496168" r:id="rId2"/>
    <p:sldLayoutId id="2147496169" r:id="rId3"/>
    <p:sldLayoutId id="2147496170" r:id="rId4"/>
    <p:sldLayoutId id="2147496171" r:id="rId5"/>
    <p:sldLayoutId id="2147496172" r:id="rId6"/>
    <p:sldLayoutId id="2147496173" r:id="rId7"/>
    <p:sldLayoutId id="2147496174" r:id="rId8"/>
    <p:sldLayoutId id="2147496175" r:id="rId9"/>
    <p:sldLayoutId id="2147496176" r:id="rId10"/>
    <p:sldLayoutId id="2147496177" r:id="rId11"/>
    <p:sldLayoutId id="2147496178" r:id="rId12"/>
    <p:sldLayoutId id="2147496179" r:id="rId13"/>
    <p:sldLayoutId id="2147496180" r:id="rId14"/>
    <p:sldLayoutId id="2147496181" r:id="rId15"/>
    <p:sldLayoutId id="2147496182" r:id="rId16"/>
    <p:sldLayoutId id="2147496183" r:id="rId17"/>
    <p:sldLayoutId id="2147496184" r:id="rId18"/>
    <p:sldLayoutId id="2147496185" r:id="rId19"/>
    <p:sldLayoutId id="2147496186" r:id="rId20"/>
    <p:sldLayoutId id="2147496187" r:id="rId21"/>
    <p:sldLayoutId id="2147496188" r:id="rId22"/>
    <p:sldLayoutId id="2147496189" r:id="rId23"/>
    <p:sldLayoutId id="2147496190" r:id="rId24"/>
    <p:sldLayoutId id="2147496191" r:id="rId25"/>
    <p:sldLayoutId id="2147496192" r:id="rId26"/>
    <p:sldLayoutId id="2147496259" r:id="rId27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179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53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3488" indent="-2270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147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481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660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838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017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AF0899DC-4211-4E3F-91A7-58F82ECB5E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IN" altLang="en-US"/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5CA131DA-DBED-46A9-A527-8ADC0FD749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IN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FB1D85-7F40-43D0-8280-C922E31E8D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EF4C60-4317-4858-83DC-414ABC22D5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en-IN"/>
              <a:t>GRR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BE8E5-84FD-455E-AC00-29B31D5442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hangingPunct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2B1CCBB-DBAE-4983-84B4-AD1EA7BFEC24}" type="slidenum">
              <a:rPr lang="en-IN"/>
              <a:pPr>
                <a:defRPr/>
              </a:pPr>
              <a:t>‹#›</a:t>
            </a:fld>
            <a:endParaRPr lang="en-IN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143" r:id="rId1"/>
    <p:sldLayoutId id="2147496144" r:id="rId2"/>
    <p:sldLayoutId id="2147496145" r:id="rId3"/>
    <p:sldLayoutId id="2147496146" r:id="rId4"/>
    <p:sldLayoutId id="2147496147" r:id="rId5"/>
    <p:sldLayoutId id="2147496148" r:id="rId6"/>
    <p:sldLayoutId id="2147496149" r:id="rId7"/>
    <p:sldLayoutId id="2147496150" r:id="rId8"/>
    <p:sldLayoutId id="2147496151" r:id="rId9"/>
    <p:sldLayoutId id="2147496152" r:id="rId10"/>
    <p:sldLayoutId id="2147496153" r:id="rId1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Object 9" hidden="1">
            <a:extLst>
              <a:ext uri="{FF2B5EF4-FFF2-40B4-BE49-F238E27FC236}">
                <a16:creationId xmlns:a16="http://schemas.microsoft.com/office/drawing/2014/main" id="{F7CA7FD4-2742-43D1-B325-4F4B6DDDB62B}"/>
              </a:ext>
            </a:extLst>
          </p:cNvPr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9" descr="PP balk">
            <a:extLst>
              <a:ext uri="{FF2B5EF4-FFF2-40B4-BE49-F238E27FC236}">
                <a16:creationId xmlns:a16="http://schemas.microsoft.com/office/drawing/2014/main" id="{8ABAE678-7EC0-44A4-8D1E-424653C812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" b="540"/>
          <a:stretch>
            <a:fillRect/>
          </a:stretch>
        </p:blipFill>
        <p:spPr bwMode="auto">
          <a:xfrm>
            <a:off x="123825" y="114300"/>
            <a:ext cx="90201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Rectangle 2">
            <a:extLst>
              <a:ext uri="{FF2B5EF4-FFF2-40B4-BE49-F238E27FC236}">
                <a16:creationId xmlns:a16="http://schemas.microsoft.com/office/drawing/2014/main" id="{50901C76-6721-4E30-9209-6BD92454302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592138"/>
            <a:ext cx="89185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35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3077" name="Rectangle 3">
            <a:extLst>
              <a:ext uri="{FF2B5EF4-FFF2-40B4-BE49-F238E27FC236}">
                <a16:creationId xmlns:a16="http://schemas.microsoft.com/office/drawing/2014/main" id="{899C7702-3CCB-40EE-A04D-46145C299C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825" y="1444625"/>
            <a:ext cx="8882063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96" rIns="71996" bIns="71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43365" name="Rectangle 5">
            <a:extLst>
              <a:ext uri="{FF2B5EF4-FFF2-40B4-BE49-F238E27FC236}">
                <a16:creationId xmlns:a16="http://schemas.microsoft.com/office/drawing/2014/main" id="{517E8878-A336-462A-887F-F0DA7E2075C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166688"/>
            <a:ext cx="503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386B335-7E4C-4546-BA10-00B17FD7476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>
            <a:extLst>
              <a:ext uri="{FF2B5EF4-FFF2-40B4-BE49-F238E27FC236}">
                <a16:creationId xmlns:a16="http://schemas.microsoft.com/office/drawing/2014/main" id="{3A900311-2789-4167-A995-FEB9113D050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23825" y="177800"/>
            <a:ext cx="359886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GRRC</a:t>
            </a:r>
          </a:p>
        </p:txBody>
      </p:sp>
      <p:sp>
        <p:nvSpPr>
          <p:cNvPr id="3080" name="Text Box 7">
            <a:extLst>
              <a:ext uri="{FF2B5EF4-FFF2-40B4-BE49-F238E27FC236}">
                <a16:creationId xmlns:a16="http://schemas.microsoft.com/office/drawing/2014/main" id="{5E68B31E-9FDC-46A3-AF6C-1A14D37D8E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53338" y="166688"/>
            <a:ext cx="10080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0" bIns="4571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3081" name="Text Box 8">
            <a:extLst>
              <a:ext uri="{FF2B5EF4-FFF2-40B4-BE49-F238E27FC236}">
                <a16:creationId xmlns:a16="http://schemas.microsoft.com/office/drawing/2014/main" id="{5796B0C3-5D95-4732-B431-92F8C57A3C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7975" y="166688"/>
            <a:ext cx="914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46798" rIns="0" bIns="467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Tata Ste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194" r:id="rId1"/>
    <p:sldLayoutId id="2147496195" r:id="rId2"/>
    <p:sldLayoutId id="2147496196" r:id="rId3"/>
    <p:sldLayoutId id="2147496197" r:id="rId4"/>
    <p:sldLayoutId id="2147496198" r:id="rId5"/>
    <p:sldLayoutId id="2147496154" r:id="rId6"/>
    <p:sldLayoutId id="2147496155" r:id="rId7"/>
    <p:sldLayoutId id="2147496156" r:id="rId8"/>
    <p:sldLayoutId id="2147496157" r:id="rId9"/>
    <p:sldLayoutId id="2147496158" r:id="rId10"/>
    <p:sldLayoutId id="2147496199" r:id="rId11"/>
    <p:sldLayoutId id="2147496200" r:id="rId12"/>
    <p:sldLayoutId id="2147496201" r:id="rId13"/>
    <p:sldLayoutId id="2147496202" r:id="rId14"/>
    <p:sldLayoutId id="2147496203" r:id="rId15"/>
    <p:sldLayoutId id="2147496204" r:id="rId16"/>
    <p:sldLayoutId id="2147496205" r:id="rId17"/>
    <p:sldLayoutId id="2147496206" r:id="rId18"/>
    <p:sldLayoutId id="2147496207" r:id="rId19"/>
    <p:sldLayoutId id="2147496208" r:id="rId20"/>
    <p:sldLayoutId id="2147496209" r:id="rId21"/>
    <p:sldLayoutId id="2147496210" r:id="rId22"/>
    <p:sldLayoutId id="2147496211" r:id="rId23"/>
    <p:sldLayoutId id="2147496212" r:id="rId24"/>
    <p:sldLayoutId id="2147496213" r:id="rId25"/>
    <p:sldLayoutId id="2147496214" r:id="rId26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179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53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3488" indent="-2270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147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481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660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838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017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Object 9" hidden="1">
            <a:extLst>
              <a:ext uri="{FF2B5EF4-FFF2-40B4-BE49-F238E27FC236}">
                <a16:creationId xmlns:a16="http://schemas.microsoft.com/office/drawing/2014/main" id="{BAB9193F-22A4-488D-9786-6F243062732B}"/>
              </a:ext>
            </a:extLst>
          </p:cNvPr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9" descr="PP balk">
            <a:extLst>
              <a:ext uri="{FF2B5EF4-FFF2-40B4-BE49-F238E27FC236}">
                <a16:creationId xmlns:a16="http://schemas.microsoft.com/office/drawing/2014/main" id="{70D3EA30-130F-475C-A2D5-004A8C9C8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" b="540"/>
          <a:stretch>
            <a:fillRect/>
          </a:stretch>
        </p:blipFill>
        <p:spPr bwMode="auto">
          <a:xfrm>
            <a:off x="123825" y="114300"/>
            <a:ext cx="90201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2">
            <a:extLst>
              <a:ext uri="{FF2B5EF4-FFF2-40B4-BE49-F238E27FC236}">
                <a16:creationId xmlns:a16="http://schemas.microsoft.com/office/drawing/2014/main" id="{339AEABB-BB0B-46B6-A7B8-2E43E068D61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592138"/>
            <a:ext cx="89185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35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4101" name="Rectangle 3">
            <a:extLst>
              <a:ext uri="{FF2B5EF4-FFF2-40B4-BE49-F238E27FC236}">
                <a16:creationId xmlns:a16="http://schemas.microsoft.com/office/drawing/2014/main" id="{009DC28F-3F1A-452F-A338-E6097CF11C0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825" y="1444625"/>
            <a:ext cx="8882063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96" rIns="71996" bIns="71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43365" name="Rectangle 5">
            <a:extLst>
              <a:ext uri="{FF2B5EF4-FFF2-40B4-BE49-F238E27FC236}">
                <a16:creationId xmlns:a16="http://schemas.microsoft.com/office/drawing/2014/main" id="{3FE082C5-90D8-406E-B7FE-433FB563DC3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166688"/>
            <a:ext cx="503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1F7453F-4A28-4706-B5E1-8A858642AC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>
            <a:extLst>
              <a:ext uri="{FF2B5EF4-FFF2-40B4-BE49-F238E27FC236}">
                <a16:creationId xmlns:a16="http://schemas.microsoft.com/office/drawing/2014/main" id="{E622830E-4259-4711-83A4-8DFFCBBF407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166688"/>
            <a:ext cx="35988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4104" name="Text Box 7">
            <a:extLst>
              <a:ext uri="{FF2B5EF4-FFF2-40B4-BE49-F238E27FC236}">
                <a16:creationId xmlns:a16="http://schemas.microsoft.com/office/drawing/2014/main" id="{36AA83BC-29CA-43FD-8BF7-7AB3A7DF3C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53338" y="166688"/>
            <a:ext cx="10080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0" bIns="4571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4105" name="Text Box 8">
            <a:extLst>
              <a:ext uri="{FF2B5EF4-FFF2-40B4-BE49-F238E27FC236}">
                <a16:creationId xmlns:a16="http://schemas.microsoft.com/office/drawing/2014/main" id="{66612227-5E83-4F63-88D0-FAFC1F2525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7975" y="166688"/>
            <a:ext cx="914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46798" rIns="0" bIns="467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Tata Ste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215" r:id="rId1"/>
    <p:sldLayoutId id="2147496216" r:id="rId2"/>
    <p:sldLayoutId id="2147496217" r:id="rId3"/>
    <p:sldLayoutId id="2147496218" r:id="rId4"/>
    <p:sldLayoutId id="2147496219" r:id="rId5"/>
    <p:sldLayoutId id="2147496220" r:id="rId6"/>
    <p:sldLayoutId id="2147496159" r:id="rId7"/>
    <p:sldLayoutId id="2147496160" r:id="rId8"/>
    <p:sldLayoutId id="2147496161" r:id="rId9"/>
    <p:sldLayoutId id="2147496162" r:id="rId10"/>
    <p:sldLayoutId id="2147496221" r:id="rId11"/>
    <p:sldLayoutId id="2147496222" r:id="rId12"/>
    <p:sldLayoutId id="2147496223" r:id="rId13"/>
    <p:sldLayoutId id="2147496224" r:id="rId14"/>
    <p:sldLayoutId id="2147496225" r:id="rId15"/>
    <p:sldLayoutId id="2147496226" r:id="rId16"/>
    <p:sldLayoutId id="2147496227" r:id="rId17"/>
    <p:sldLayoutId id="2147496228" r:id="rId18"/>
    <p:sldLayoutId id="2147496229" r:id="rId19"/>
    <p:sldLayoutId id="2147496230" r:id="rId20"/>
    <p:sldLayoutId id="2147496231" r:id="rId21"/>
    <p:sldLayoutId id="2147496232" r:id="rId22"/>
    <p:sldLayoutId id="2147496233" r:id="rId23"/>
    <p:sldLayoutId id="2147496234" r:id="rId24"/>
    <p:sldLayoutId id="2147496235" r:id="rId25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179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53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3488" indent="-2270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147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481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660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838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017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Object 9" hidden="1">
            <a:extLst>
              <a:ext uri="{FF2B5EF4-FFF2-40B4-BE49-F238E27FC236}">
                <a16:creationId xmlns:a16="http://schemas.microsoft.com/office/drawing/2014/main" id="{9ADD63B4-B65A-4AC6-9776-F5AD51C5B8FE}"/>
              </a:ext>
            </a:extLst>
          </p:cNvPr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9" descr="PP balk">
            <a:extLst>
              <a:ext uri="{FF2B5EF4-FFF2-40B4-BE49-F238E27FC236}">
                <a16:creationId xmlns:a16="http://schemas.microsoft.com/office/drawing/2014/main" id="{9C1A936E-0B8E-4193-B890-D2E744789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" b="540"/>
          <a:stretch>
            <a:fillRect/>
          </a:stretch>
        </p:blipFill>
        <p:spPr bwMode="auto">
          <a:xfrm>
            <a:off x="123825" y="114300"/>
            <a:ext cx="9020175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>
            <a:extLst>
              <a:ext uri="{FF2B5EF4-FFF2-40B4-BE49-F238E27FC236}">
                <a16:creationId xmlns:a16="http://schemas.microsoft.com/office/drawing/2014/main" id="{18DDF4F0-D1B3-411F-B852-E4281C9595A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592138"/>
            <a:ext cx="89185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35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5125" name="Rectangle 3">
            <a:extLst>
              <a:ext uri="{FF2B5EF4-FFF2-40B4-BE49-F238E27FC236}">
                <a16:creationId xmlns:a16="http://schemas.microsoft.com/office/drawing/2014/main" id="{613D694F-9F15-400B-96D0-7BF3A1087AE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825" y="1444625"/>
            <a:ext cx="8882063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96" rIns="71996" bIns="71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43365" name="Rectangle 5">
            <a:extLst>
              <a:ext uri="{FF2B5EF4-FFF2-40B4-BE49-F238E27FC236}">
                <a16:creationId xmlns:a16="http://schemas.microsoft.com/office/drawing/2014/main" id="{61794DB0-7841-4256-BB5E-73D5A0F480C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166688"/>
            <a:ext cx="5032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B0E291E-E5DA-4E1F-9233-C1914863BA8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3366" name="Rectangle 6">
            <a:extLst>
              <a:ext uri="{FF2B5EF4-FFF2-40B4-BE49-F238E27FC236}">
                <a16:creationId xmlns:a16="http://schemas.microsoft.com/office/drawing/2014/main" id="{7A032B75-E110-400C-B514-8120998FB198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166688"/>
            <a:ext cx="35988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ABP FY17</a:t>
            </a:r>
            <a:endParaRPr lang="en-GB" dirty="0"/>
          </a:p>
        </p:txBody>
      </p:sp>
      <p:sp>
        <p:nvSpPr>
          <p:cNvPr id="5128" name="Text Box 7">
            <a:extLst>
              <a:ext uri="{FF2B5EF4-FFF2-40B4-BE49-F238E27FC236}">
                <a16:creationId xmlns:a16="http://schemas.microsoft.com/office/drawing/2014/main" id="{717E5272-7A6A-4C2F-97D0-B2DDEB20F9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53338" y="166688"/>
            <a:ext cx="10080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0" bIns="4571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Slide</a:t>
            </a:r>
          </a:p>
        </p:txBody>
      </p:sp>
      <p:sp>
        <p:nvSpPr>
          <p:cNvPr id="5129" name="Text Box 8">
            <a:extLst>
              <a:ext uri="{FF2B5EF4-FFF2-40B4-BE49-F238E27FC236}">
                <a16:creationId xmlns:a16="http://schemas.microsoft.com/office/drawing/2014/main" id="{1A53B420-5F3E-41F3-BFC3-EBA79B0959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7975" y="166688"/>
            <a:ext cx="9144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none" lIns="0" tIns="46798" rIns="0" bIns="46798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GB" altLang="en-US" sz="1000" b="1">
                <a:solidFill>
                  <a:srgbClr val="FFFFFF"/>
                </a:solidFill>
              </a:rPr>
              <a:t>Tata Ste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236" r:id="rId1"/>
    <p:sldLayoutId id="2147496237" r:id="rId2"/>
    <p:sldLayoutId id="2147496238" r:id="rId3"/>
    <p:sldLayoutId id="2147496239" r:id="rId4"/>
    <p:sldLayoutId id="2147496240" r:id="rId5"/>
    <p:sldLayoutId id="2147496241" r:id="rId6"/>
    <p:sldLayoutId id="2147496163" r:id="rId7"/>
    <p:sldLayoutId id="2147496164" r:id="rId8"/>
    <p:sldLayoutId id="2147496165" r:id="rId9"/>
    <p:sldLayoutId id="2147496166" r:id="rId10"/>
    <p:sldLayoutId id="2147496242" r:id="rId11"/>
    <p:sldLayoutId id="2147496243" r:id="rId12"/>
    <p:sldLayoutId id="2147496244" r:id="rId13"/>
    <p:sldLayoutId id="2147496245" r:id="rId14"/>
    <p:sldLayoutId id="2147496246" r:id="rId15"/>
    <p:sldLayoutId id="2147496247" r:id="rId16"/>
    <p:sldLayoutId id="2147496248" r:id="rId17"/>
    <p:sldLayoutId id="2147496249" r:id="rId18"/>
    <p:sldLayoutId id="2147496250" r:id="rId19"/>
    <p:sldLayoutId id="2147496251" r:id="rId20"/>
    <p:sldLayoutId id="2147496252" r:id="rId21"/>
    <p:sldLayoutId id="2147496253" r:id="rId22"/>
    <p:sldLayoutId id="2147496254" r:id="rId23"/>
    <p:sldLayoutId id="2147496255" r:id="rId24"/>
    <p:sldLayoutId id="2147496256" r:id="rId25"/>
    <p:sldLayoutId id="2147496257" r:id="rId26"/>
  </p:sldLayoutIdLst>
  <p:transition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cs typeface="Arial" charset="0"/>
        </a:defRPr>
      </a:lvl5pPr>
      <a:lvl6pPr marL="457179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6pPr>
      <a:lvl7pPr marL="914357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7pPr>
      <a:lvl8pPr marL="137153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8pPr>
      <a:lvl9pPr marL="1828713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77800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>
          <a:solidFill>
            <a:schemeClr val="tx1"/>
          </a:solidFill>
          <a:latin typeface="+mn-lt"/>
          <a:cs typeface="+mn-cs"/>
        </a:defRPr>
      </a:lvl2pPr>
      <a:lvl3pPr marL="1233488" indent="-227013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4147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481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660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8838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017" indent="-22858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3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3" descr="TG_BM_RGB">
            <a:extLst>
              <a:ext uri="{FF2B5EF4-FFF2-40B4-BE49-F238E27FC236}">
                <a16:creationId xmlns:a16="http://schemas.microsoft.com/office/drawing/2014/main" id="{8504FAFA-5837-443C-BAD8-BCD5238A4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0" t="10782" r="9810" b="10782"/>
          <a:stretch>
            <a:fillRect/>
          </a:stretch>
        </p:blipFill>
        <p:spPr bwMode="auto">
          <a:xfrm>
            <a:off x="8543925" y="74613"/>
            <a:ext cx="49053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23" descr="TS_BM_RGB">
            <a:extLst>
              <a:ext uri="{FF2B5EF4-FFF2-40B4-BE49-F238E27FC236}">
                <a16:creationId xmlns:a16="http://schemas.microsoft.com/office/drawing/2014/main" id="{C390F9F8-782A-45D3-A622-21E23AE31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9" t="32796" r="9198" b="31863"/>
          <a:stretch>
            <a:fillRect/>
          </a:stretch>
        </p:blipFill>
        <p:spPr bwMode="auto">
          <a:xfrm>
            <a:off x="141288" y="6608763"/>
            <a:ext cx="1095375" cy="141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2">
            <a:extLst>
              <a:ext uri="{FF2B5EF4-FFF2-40B4-BE49-F238E27FC236}">
                <a16:creationId xmlns:a16="http://schemas.microsoft.com/office/drawing/2014/main" id="{2CE2F8C6-FE73-42C2-B095-4BFFC52A2E3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" y="592138"/>
            <a:ext cx="891857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22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</p:txBody>
      </p:sp>
      <p:sp>
        <p:nvSpPr>
          <p:cNvPr id="2053" name="Rectangle 3">
            <a:extLst>
              <a:ext uri="{FF2B5EF4-FFF2-40B4-BE49-F238E27FC236}">
                <a16:creationId xmlns:a16="http://schemas.microsoft.com/office/drawing/2014/main" id="{131FBA0F-83FB-466B-B6FF-318AE6B24C1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23825" y="1444625"/>
            <a:ext cx="8882063" cy="489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1987" rIns="71987" bIns="71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Text</a:t>
            </a:r>
          </a:p>
          <a:p>
            <a:pPr lvl="1"/>
            <a:r>
              <a:rPr lang="en-GB" altLang="en-US"/>
              <a:t>Text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4DAD5A77-2B05-4C47-A093-70E1E5961E8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69175" y="6475413"/>
            <a:ext cx="1058863" cy="107950"/>
          </a:xfrm>
          <a:prstGeom prst="rect">
            <a:avLst/>
          </a:prstGeom>
          <a:noFill/>
          <a:ln>
            <a:noFill/>
          </a:ln>
        </p:spPr>
        <p:txBody>
          <a:bodyPr vert="horz" wrap="square" lIns="84479" tIns="42239" rIns="84479" bIns="4223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800" b="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 altLang="en-US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9393F8E-057A-48C8-A3D4-757DBF0026C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5288" y="168275"/>
            <a:ext cx="3598862" cy="21431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22" tIns="45712" rIns="91422" bIns="4571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FFFFFF"/>
                </a:solidFill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nl-NL" altLang="en-US"/>
              <a:t>TSG (S&amp;LO) Shipping Review</a:t>
            </a:r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5DF1C390-9B75-4A55-8E2C-2E9D9365584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1250" y="168275"/>
            <a:ext cx="503238" cy="21431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45712" rIns="91422" bIns="45712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38D1AF60-FD3C-458F-9B33-7A9E8E94613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1141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6262" r:id="rId1"/>
    <p:sldLayoutId id="2147496263" r:id="rId2"/>
    <p:sldLayoutId id="2147496264" r:id="rId3"/>
    <p:sldLayoutId id="2147496265" r:id="rId4"/>
    <p:sldLayoutId id="2147496266" r:id="rId5"/>
    <p:sldLayoutId id="2147496267" r:id="rId6"/>
    <p:sldLayoutId id="2147496268" r:id="rId7"/>
    <p:sldLayoutId id="2147496269" r:id="rId8"/>
    <p:sldLayoutId id="2147496270" r:id="rId9"/>
    <p:sldLayoutId id="2147496271" r:id="rId10"/>
    <p:sldLayoutId id="2147496272" r:id="rId11"/>
  </p:sldLayoutIdLst>
  <p:transition>
    <p:fade/>
  </p:transition>
  <p:hf hdr="0" dt="0"/>
  <p:txStyles>
    <p:titleStyle>
      <a:lvl1pPr algn="l" defTabSz="844550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84455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84455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84455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844550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844550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844550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844550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844550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9388" indent="-179388" algn="l" defTabSz="844550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7800" algn="l" defTabSz="844550" rtl="0" eaLnBrk="0" fontAlgn="base" hangingPunct="0">
        <a:spcBef>
          <a:spcPts val="863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1233488" indent="-227013" algn="l" defTabSz="844550" rtl="0" eaLnBrk="0" fontAlgn="base" hangingPunct="0">
        <a:spcBef>
          <a:spcPct val="20000"/>
        </a:spcBef>
        <a:spcAft>
          <a:spcPct val="0"/>
        </a:spcAft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41475" indent="-227013" algn="l" defTabSz="844550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844550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tmp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7" Type="http://schemas.openxmlformats.org/officeDocument/2006/relationships/image" Target="../media/image34.emf"/><Relationship Id="rId2" Type="http://schemas.openxmlformats.org/officeDocument/2006/relationships/slideLayout" Target="../slideLayouts/slideLayout27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35.emf"/><Relationship Id="rId4" Type="http://schemas.openxmlformats.org/officeDocument/2006/relationships/image" Target="../media/image33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tmp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mp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tm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7.tmp"/><Relationship Id="rId1" Type="http://schemas.openxmlformats.org/officeDocument/2006/relationships/slideLayout" Target="../slideLayouts/slideLayout27.xml"/><Relationship Id="rId4" Type="http://schemas.openxmlformats.org/officeDocument/2006/relationships/hyperlink" Target="https://www.emissionsauthority.nl/topics/what-is-emissions-trading#:~:text=Emissions%20trading%20(EU%20ETS)%20is,those%20of%20the%20Kyoto%20Protocol.&amp;text=Purchasers%20and%20suppliers%20trade%20in,a%20market%20price%20for%20CO2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6F3DD52-B79F-47DD-98D9-911A90E9B4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2950"/>
            <a:ext cx="9144000" cy="51521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D2D3DF-0D2A-43A7-A072-FE4F74FFD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449" y="1017287"/>
            <a:ext cx="8558594" cy="80886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3F7D2A9-883B-4881-A556-BF5E9FFEEF89}"/>
              </a:ext>
            </a:extLst>
          </p:cNvPr>
          <p:cNvSpPr txBox="1"/>
          <p:nvPr/>
        </p:nvSpPr>
        <p:spPr>
          <a:xfrm>
            <a:off x="707490" y="2155712"/>
            <a:ext cx="7895491" cy="456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dirty="0">
                <a:solidFill>
                  <a:schemeClr val="bg1"/>
                </a:solidFill>
              </a:rPr>
              <a:t>SUSTAINABILITY IN SHIPPING – INITIATIVES TAKEN BY TATA STEEL</a:t>
            </a:r>
          </a:p>
        </p:txBody>
      </p:sp>
    </p:spTree>
    <p:extLst>
      <p:ext uri="{BB962C8B-B14F-4D97-AF65-F5344CB8AC3E}">
        <p14:creationId xmlns:p14="http://schemas.microsoft.com/office/powerpoint/2010/main" val="23043341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207113-2EC2-46ED-B41B-2F3EC1A2C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bon Intensity Targets - SCC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B22F8F0-E25B-421C-A4BA-06E6B85CC3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462" y="2454468"/>
            <a:ext cx="1028789" cy="2872989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16E46B-E228-4606-BF19-A47F0C5E64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1B3FD1-0B93-412B-9301-8DD44E7CCA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10</a:t>
            </a:fld>
            <a:endParaRPr lang="en-GB" altLang="nl-NL"/>
          </a:p>
        </p:txBody>
      </p:sp>
      <p:pic>
        <p:nvPicPr>
          <p:cNvPr id="9" name="Picture 8" descr="Chart, line chart&#10;&#10;Description automatically generated">
            <a:extLst>
              <a:ext uri="{FF2B5EF4-FFF2-40B4-BE49-F238E27FC236}">
                <a16:creationId xmlns:a16="http://schemas.microsoft.com/office/drawing/2014/main" id="{65C9ECDE-16C4-4E90-BFA9-26D352FD70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91" y="1304525"/>
            <a:ext cx="9010642" cy="5172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738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5A7B65-E1E2-481F-BCB7-6B33CD9B6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HG Trend Line Backu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D8C5A5-72D5-4114-B914-70E9C915B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95EA5E-E796-425F-9D98-12B8423F8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11</a:t>
            </a:fld>
            <a:endParaRPr lang="en-GB" altLang="nl-NL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31294986-7C1F-4449-B58A-FD333BA2176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8732447"/>
              </p:ext>
            </p:extLst>
          </p:nvPr>
        </p:nvGraphicFramePr>
        <p:xfrm>
          <a:off x="296863" y="1280478"/>
          <a:ext cx="4275137" cy="1836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Worksheet" r:id="rId3" imgW="4275012" imgH="1836200" progId="Excel.Sheet.12">
                  <p:embed/>
                </p:oleObj>
              </mc:Choice>
              <mc:Fallback>
                <p:oleObj name="Worksheet" r:id="rId3" imgW="4275012" imgH="1836200" progId="Excel.Sheet.12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31294986-7C1F-4449-B58A-FD333BA21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6863" y="1280478"/>
                        <a:ext cx="4275137" cy="18367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35984D1-5D48-4C55-9F36-F2B4D3B986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1795" y="1280478"/>
            <a:ext cx="4285515" cy="1836737"/>
          </a:xfrm>
          <a:prstGeom prst="rect">
            <a:avLst/>
          </a:prstGeom>
        </p:spPr>
      </p:pic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FB874ADE-D3FA-40D8-9014-9D9B764A74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6809385"/>
              </p:ext>
            </p:extLst>
          </p:nvPr>
        </p:nvGraphicFramePr>
        <p:xfrm>
          <a:off x="2135505" y="3740785"/>
          <a:ext cx="4872990" cy="2093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Worksheet" r:id="rId6" imgW="4275012" imgH="1836200" progId="Excel.Sheet.12">
                  <p:embed/>
                </p:oleObj>
              </mc:Choice>
              <mc:Fallback>
                <p:oleObj name="Worksheet" r:id="rId6" imgW="4275012" imgH="1836200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FB874ADE-D3FA-40D8-9014-9D9B764A74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35505" y="3740785"/>
                        <a:ext cx="4872990" cy="20935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846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72E05-A9DD-496F-A511-E9C66CDE3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O GHG Study Data 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C9017-1F83-4BB5-95A0-355940F391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7B045A-AE6B-4C1C-BAE1-B24C9AFD7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0B64A8-5D71-410A-A700-320C150D5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12</a:t>
            </a:fld>
            <a:endParaRPr lang="en-GB" altLang="nl-NL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80B1A1D-6027-4ABF-80A9-A404C6CE8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34" y="1444625"/>
            <a:ext cx="8886735" cy="5216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80867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F86D1-C757-4E85-A54D-516CA1E3DE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I-Example-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0A3A5A-3554-4965-B55F-52ED6D237E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426CB0-BD36-49F7-BD11-B1DA86CCF2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13</a:t>
            </a:fld>
            <a:endParaRPr lang="en-GB" altLang="nl-NL"/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ECB966C0-B120-449A-B8A9-7A85CCC0CA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41" y="1162050"/>
            <a:ext cx="8862828" cy="535732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BE49E61-3FA3-4EE5-BE6A-FB9A6CFD8173}"/>
              </a:ext>
            </a:extLst>
          </p:cNvPr>
          <p:cNvSpPr txBox="1"/>
          <p:nvPr/>
        </p:nvSpPr>
        <p:spPr>
          <a:xfrm>
            <a:off x="2032988" y="6537423"/>
            <a:ext cx="8495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From NKK https://www.classnk.or.jp/hp/pdf/activities/statutory/seemp/CII_en.pdf</a:t>
            </a:r>
          </a:p>
        </p:txBody>
      </p:sp>
    </p:spTree>
    <p:extLst>
      <p:ext uri="{BB962C8B-B14F-4D97-AF65-F5344CB8AC3E}">
        <p14:creationId xmlns:p14="http://schemas.microsoft.com/office/powerpoint/2010/main" val="41835932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F1A14-E86A-4CEF-807A-221B1AD26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I Example-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2F782B-F70D-476E-A542-44B02532C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30CB57-A0CB-4548-B1F0-F40B3BD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14</a:t>
            </a:fld>
            <a:endParaRPr lang="en-GB" altLang="nl-NL"/>
          </a:p>
        </p:txBody>
      </p:sp>
      <p:pic>
        <p:nvPicPr>
          <p:cNvPr id="7" name="Picture 6" descr="Table&#10;&#10;Description automatically generated">
            <a:extLst>
              <a:ext uri="{FF2B5EF4-FFF2-40B4-BE49-F238E27FC236}">
                <a16:creationId xmlns:a16="http://schemas.microsoft.com/office/drawing/2014/main" id="{7CD4DE91-8C0C-4671-84D6-D44EB56873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03" y="1162050"/>
            <a:ext cx="8039441" cy="52470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BC598DC-3AC0-4ED6-8643-5BC17F2C26F1}"/>
              </a:ext>
            </a:extLst>
          </p:cNvPr>
          <p:cNvSpPr txBox="1"/>
          <p:nvPr/>
        </p:nvSpPr>
        <p:spPr>
          <a:xfrm>
            <a:off x="2032988" y="6537423"/>
            <a:ext cx="8495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From NKK https://www.classnk.or.jp/hp/pdf/activities/statutory/seemp/CII_en.pdf</a:t>
            </a:r>
          </a:p>
        </p:txBody>
      </p:sp>
    </p:spTree>
    <p:extLst>
      <p:ext uri="{BB962C8B-B14F-4D97-AF65-F5344CB8AC3E}">
        <p14:creationId xmlns:p14="http://schemas.microsoft.com/office/powerpoint/2010/main" val="3881083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DB302-1C6B-456F-A29A-363B5842D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TATA STEEL 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A3EC92-1C58-4FBF-8EC4-C05BF3ACC7B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209149" y="1086096"/>
            <a:ext cx="8710375" cy="1309595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Safety and Sustainability is an integral part of Tata Steel business is driven by the Company’s leadership, with an organization-wide governance structure around it</a:t>
            </a:r>
            <a:r>
              <a:rPr lang="en-US" dirty="0"/>
              <a:t>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Vision</a:t>
            </a:r>
            <a:r>
              <a:rPr lang="en-US" dirty="0"/>
              <a:t> - We aspire to be the global steel industry benchmark for value creation and corporate citizenship</a:t>
            </a:r>
          </a:p>
          <a:p>
            <a:pPr marL="0" indent="0">
              <a:buNone/>
            </a:pPr>
            <a:r>
              <a:rPr lang="en-US" b="1" dirty="0"/>
              <a:t>Mission</a:t>
            </a:r>
            <a:r>
              <a:rPr lang="en-US" dirty="0"/>
              <a:t> - Integrity | Excellence | Unity | Responsibility | Pioneer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7C33AA-A41D-4582-A18D-3E5A820A47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E816BA-6807-4BF4-AC3D-F4E37A5914E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56259C7D-6442-4158-9152-C599BA38194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25A6503-7A72-42B4-B7F9-E881F80C015F}"/>
              </a:ext>
            </a:extLst>
          </p:cNvPr>
          <p:cNvSpPr txBox="1"/>
          <p:nvPr/>
        </p:nvSpPr>
        <p:spPr>
          <a:xfrm>
            <a:off x="7041823" y="6474609"/>
            <a:ext cx="27866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From Tata Steel Websi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566126-FF76-46FA-BC16-22AA11311BAC}"/>
              </a:ext>
            </a:extLst>
          </p:cNvPr>
          <p:cNvSpPr txBox="1"/>
          <p:nvPr/>
        </p:nvSpPr>
        <p:spPr>
          <a:xfrm>
            <a:off x="170726" y="3341023"/>
            <a:ext cx="83689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Shipping Operations team focuses on three aspects which drives our policies, processes and decision making:</a:t>
            </a:r>
          </a:p>
          <a:p>
            <a:endParaRPr lang="en-US" sz="1500" dirty="0"/>
          </a:p>
          <a:p>
            <a:endParaRPr lang="en-US" sz="1500" dirty="0"/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89F7FB-99A6-4CB4-A847-1E59505FCAC5}"/>
              </a:ext>
            </a:extLst>
          </p:cNvPr>
          <p:cNvSpPr txBox="1"/>
          <p:nvPr/>
        </p:nvSpPr>
        <p:spPr>
          <a:xfrm>
            <a:off x="5863472" y="4245391"/>
            <a:ext cx="3280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Corporate Social Responsibi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D71CC9-E1E3-46D1-A229-03520F6ED4D1}"/>
              </a:ext>
            </a:extLst>
          </p:cNvPr>
          <p:cNvSpPr txBox="1"/>
          <p:nvPr/>
        </p:nvSpPr>
        <p:spPr>
          <a:xfrm>
            <a:off x="2582944" y="4243929"/>
            <a:ext cx="3280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Safe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14E46A-0DC9-44ED-956B-BD7A80789B08}"/>
              </a:ext>
            </a:extLst>
          </p:cNvPr>
          <p:cNvSpPr txBox="1"/>
          <p:nvPr/>
        </p:nvSpPr>
        <p:spPr>
          <a:xfrm>
            <a:off x="-93258" y="4269530"/>
            <a:ext cx="32805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Sustainability</a:t>
            </a:r>
          </a:p>
        </p:txBody>
      </p:sp>
      <p:pic>
        <p:nvPicPr>
          <p:cNvPr id="1032" name="Picture 8" descr="Planet earth free icon">
            <a:extLst>
              <a:ext uri="{FF2B5EF4-FFF2-40B4-BE49-F238E27FC236}">
                <a16:creationId xmlns:a16="http://schemas.microsoft.com/office/drawing/2014/main" id="{18474192-E25C-4B72-ABDA-833CE69B0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060" y="5184814"/>
            <a:ext cx="1157891" cy="115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hield free icon">
            <a:extLst>
              <a:ext uri="{FF2B5EF4-FFF2-40B4-BE49-F238E27FC236}">
                <a16:creationId xmlns:a16="http://schemas.microsoft.com/office/drawing/2014/main" id="{8207401A-6269-441D-A86F-975960CFE5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262" y="5184814"/>
            <a:ext cx="1157891" cy="115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orporate free icon">
            <a:extLst>
              <a:ext uri="{FF2B5EF4-FFF2-40B4-BE49-F238E27FC236}">
                <a16:creationId xmlns:a16="http://schemas.microsoft.com/office/drawing/2014/main" id="{61387A63-5E0A-480A-B4E5-6ACDCD4556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790" y="5184814"/>
            <a:ext cx="1157891" cy="1157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883033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CDE71-1D66-4192-BBBF-245BD2A15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Strateg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FE06D7-C790-4961-B1FE-33B8AB627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3</a:t>
            </a:fld>
            <a:endParaRPr lang="en-GB" altLang="nl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A89404-C409-4459-954C-CCC64C1632C2}"/>
              </a:ext>
            </a:extLst>
          </p:cNvPr>
          <p:cNvSpPr txBox="1"/>
          <p:nvPr/>
        </p:nvSpPr>
        <p:spPr>
          <a:xfrm>
            <a:off x="5560939" y="1216690"/>
            <a:ext cx="3941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Corporate Social Responsibil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8F7369-288C-49E2-B512-8115CDC26293}"/>
              </a:ext>
            </a:extLst>
          </p:cNvPr>
          <p:cNvSpPr txBox="1"/>
          <p:nvPr/>
        </p:nvSpPr>
        <p:spPr>
          <a:xfrm>
            <a:off x="2656051" y="1205640"/>
            <a:ext cx="3280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Safe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2EE860-EFB6-44FE-814F-73534FA543E8}"/>
              </a:ext>
            </a:extLst>
          </p:cNvPr>
          <p:cNvSpPr txBox="1"/>
          <p:nvPr/>
        </p:nvSpPr>
        <p:spPr>
          <a:xfrm>
            <a:off x="-322316" y="1187651"/>
            <a:ext cx="3280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70C0"/>
                </a:solidFill>
              </a:rPr>
              <a:t>Sustainabilit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AA5001E-EB1B-47AE-8CB0-3C58C81A05D9}"/>
              </a:ext>
            </a:extLst>
          </p:cNvPr>
          <p:cNvCxnSpPr/>
          <p:nvPr/>
        </p:nvCxnSpPr>
        <p:spPr bwMode="auto">
          <a:xfrm>
            <a:off x="2958212" y="1282045"/>
            <a:ext cx="0" cy="512818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EC81BE3-C030-49AA-AA13-8AC58777C4BB}"/>
              </a:ext>
            </a:extLst>
          </p:cNvPr>
          <p:cNvCxnSpPr/>
          <p:nvPr/>
        </p:nvCxnSpPr>
        <p:spPr bwMode="auto">
          <a:xfrm>
            <a:off x="5634414" y="1282045"/>
            <a:ext cx="0" cy="5128182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2E59D2D2-021B-4034-9138-028658ACFF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8705110"/>
              </p:ext>
            </p:extLst>
          </p:nvPr>
        </p:nvGraphicFramePr>
        <p:xfrm>
          <a:off x="395288" y="1791851"/>
          <a:ext cx="1954477" cy="44740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48D57CD4-8F2E-4364-AFB5-73604DAB5808}"/>
              </a:ext>
            </a:extLst>
          </p:cNvPr>
          <p:cNvSpPr txBox="1"/>
          <p:nvPr/>
        </p:nvSpPr>
        <p:spPr>
          <a:xfrm>
            <a:off x="3220754" y="1786602"/>
            <a:ext cx="2168158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/>
              <a:t>Handholding mechanism</a:t>
            </a:r>
          </a:p>
          <a:p>
            <a:r>
              <a:rPr lang="en-US" sz="1300" dirty="0"/>
              <a:t>Tata Steel through its processes and expectations influences its partners to move towards more sustainable, safe and responsible practices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69D7ED7F-67A0-4E2E-B73F-D3C45610D2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2287036"/>
              </p:ext>
            </p:extLst>
          </p:nvPr>
        </p:nvGraphicFramePr>
        <p:xfrm>
          <a:off x="3212234" y="3846136"/>
          <a:ext cx="2250670" cy="24509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073F51C9-30DF-46CE-9657-1BAE8034DC95}"/>
              </a:ext>
            </a:extLst>
          </p:cNvPr>
          <p:cNvSpPr txBox="1"/>
          <p:nvPr/>
        </p:nvSpPr>
        <p:spPr>
          <a:xfrm>
            <a:off x="5936574" y="1839162"/>
            <a:ext cx="286026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TF</a:t>
            </a:r>
          </a:p>
          <a:p>
            <a:r>
              <a:rPr lang="en-US" sz="1400" dirty="0"/>
              <a:t>We only accept vessels with membership of ITF and related parties so as to ensure seafarers minimum rights related to wages, living conditions </a:t>
            </a:r>
            <a:r>
              <a:rPr lang="en-US" sz="1400" dirty="0" err="1"/>
              <a:t>etc</a:t>
            </a:r>
            <a:r>
              <a:rPr lang="en-US" sz="1400" dirty="0"/>
              <a:t> are guaranteed</a:t>
            </a:r>
          </a:p>
          <a:p>
            <a:endParaRPr lang="en-US" sz="1400" dirty="0"/>
          </a:p>
          <a:p>
            <a:r>
              <a:rPr lang="en-US" sz="1400" b="1" dirty="0"/>
              <a:t>11-14 months policy</a:t>
            </a:r>
          </a:p>
          <a:p>
            <a:r>
              <a:rPr lang="en-US" sz="1400" dirty="0"/>
              <a:t>If there is crew onboard for 11-14 months, we ask for repatriations plans from owners</a:t>
            </a:r>
          </a:p>
          <a:p>
            <a:endParaRPr lang="en-US" sz="1400" dirty="0"/>
          </a:p>
          <a:p>
            <a:r>
              <a:rPr lang="en-US" sz="1400" b="1" dirty="0"/>
              <a:t>GHG Rating </a:t>
            </a:r>
          </a:p>
          <a:p>
            <a:r>
              <a:rPr lang="en-US" sz="1400" dirty="0"/>
              <a:t>By further limiting vessels to only A-D rating from FY23, we intend to minimize our carbon footprints and influence industry in the direction of better rated vessel. </a:t>
            </a:r>
          </a:p>
          <a:p>
            <a:endParaRPr lang="en-US" sz="16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56255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E3FDEB-47E7-41D9-B798-DFB06EE3F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ipping Market (GHG Emissions - IMO and SCC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0C9C0E-B2C0-4F52-91CB-D2AB4CAAF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4</a:t>
            </a:fld>
            <a:endParaRPr lang="en-GB" altLang="nl-NL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62A7700-CBB5-4735-B08C-9538A4067F81}"/>
              </a:ext>
            </a:extLst>
          </p:cNvPr>
          <p:cNvCxnSpPr>
            <a:cxnSpLocks/>
          </p:cNvCxnSpPr>
          <p:nvPr/>
        </p:nvCxnSpPr>
        <p:spPr bwMode="auto">
          <a:xfrm>
            <a:off x="4410616" y="2413182"/>
            <a:ext cx="0" cy="4067465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C5D4F16-A2D8-4D5E-BFC6-54651871D557}"/>
              </a:ext>
            </a:extLst>
          </p:cNvPr>
          <p:cNvSpPr/>
          <p:nvPr/>
        </p:nvSpPr>
        <p:spPr>
          <a:xfrm>
            <a:off x="1783839" y="1162050"/>
            <a:ext cx="155705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IMO</a:t>
            </a:r>
          </a:p>
        </p:txBody>
      </p:sp>
      <p:pic>
        <p:nvPicPr>
          <p:cNvPr id="9" name="Picture 18" descr="IMO certification | Bayvalves">
            <a:extLst>
              <a:ext uri="{FF2B5EF4-FFF2-40B4-BE49-F238E27FC236}">
                <a16:creationId xmlns:a16="http://schemas.microsoft.com/office/drawing/2014/main" id="{FD6806EB-E072-4AD6-9D50-7093D70FE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78" y="1162050"/>
            <a:ext cx="970030" cy="97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4D825A5-C5BE-40BC-932D-70EBBB81B436}"/>
              </a:ext>
            </a:extLst>
          </p:cNvPr>
          <p:cNvSpPr/>
          <p:nvPr/>
        </p:nvSpPr>
        <p:spPr>
          <a:xfrm>
            <a:off x="6815579" y="1162050"/>
            <a:ext cx="1640443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SC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8072F33-58D2-4199-86A2-8AA433E76B68}"/>
              </a:ext>
            </a:extLst>
          </p:cNvPr>
          <p:cNvSpPr txBox="1"/>
          <p:nvPr/>
        </p:nvSpPr>
        <p:spPr>
          <a:xfrm>
            <a:off x="320512" y="2092425"/>
            <a:ext cx="392155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b="1" dirty="0"/>
          </a:p>
          <a:p>
            <a:endParaRPr lang="en-US" sz="1200" b="1" dirty="0"/>
          </a:p>
          <a:p>
            <a:r>
              <a:rPr lang="en-US" sz="1200" b="1" dirty="0"/>
              <a:t>Targ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aking 2008 as the baseline, IMO targets 50% reduction in Carbon Emissions by 205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In terms of Carbon Intensity(EEOI), IMO Targets 40% reduction by 2030 and 70% by 2050</a:t>
            </a:r>
          </a:p>
          <a:p>
            <a:endParaRPr lang="en-US" sz="1200" dirty="0"/>
          </a:p>
          <a:p>
            <a:r>
              <a:rPr lang="en-US" sz="1200" b="1" dirty="0"/>
              <a:t>IMO 2014 GHG Stud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2.6%(1b </a:t>
            </a:r>
            <a:r>
              <a:rPr lang="en-US" sz="1200" dirty="0" err="1"/>
              <a:t>tonnes</a:t>
            </a:r>
            <a:r>
              <a:rPr lang="en-US" sz="1200" dirty="0"/>
              <a:t>) of worlds emission through International Shipp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IS data can be used directly for correlations(reliable method) to calculate EEOI</a:t>
            </a:r>
          </a:p>
          <a:p>
            <a:endParaRPr lang="en-US" sz="1200" dirty="0"/>
          </a:p>
          <a:p>
            <a:r>
              <a:rPr lang="en-US" sz="1200" b="1" dirty="0"/>
              <a:t>IMO 2020 GHG Stud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2.89% of world emissions in 2018 was due to international shipp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EEOI method-29% better than in 2008(17.10 vs 11.67gCO2/t-nm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err="1"/>
              <a:t>Covid</a:t>
            </a:r>
            <a:r>
              <a:rPr lang="en-US" sz="1200" dirty="0"/>
              <a:t> impact – lower GHG emissions in 2020-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r>
              <a:rPr lang="en-US" sz="1200" b="1" dirty="0"/>
              <a:t>Impact of IMO Studies on Shipping Industry</a:t>
            </a:r>
            <a:endParaRPr lang="en-US" b="1" dirty="0"/>
          </a:p>
          <a:p>
            <a:r>
              <a:rPr lang="en-US" sz="1200" dirty="0"/>
              <a:t>Benchmark and Holy grail for Shipping industry for GHG emissions. Drives industry pract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i="1" dirty="0"/>
          </a:p>
        </p:txBody>
      </p:sp>
      <p:pic>
        <p:nvPicPr>
          <p:cNvPr id="4098" name="Picture 2" descr="Sea Cargo Charter">
            <a:extLst>
              <a:ext uri="{FF2B5EF4-FFF2-40B4-BE49-F238E27FC236}">
                <a16:creationId xmlns:a16="http://schemas.microsoft.com/office/drawing/2014/main" id="{D951F58E-8D9E-4C2F-B478-4E6031647F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196929"/>
            <a:ext cx="2299037" cy="853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D90C78C-771B-412D-AD9E-B5A077196EEB}"/>
              </a:ext>
            </a:extLst>
          </p:cNvPr>
          <p:cNvSpPr txBox="1"/>
          <p:nvPr/>
        </p:nvSpPr>
        <p:spPr>
          <a:xfrm>
            <a:off x="4454043" y="2045959"/>
            <a:ext cx="47336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o ensure compliance with IMO, we joined SCC in August 2021</a:t>
            </a:r>
          </a:p>
          <a:p>
            <a:endParaRPr lang="en-US" sz="1200" b="1" dirty="0"/>
          </a:p>
          <a:p>
            <a:r>
              <a:rPr lang="en-US" sz="1200" b="1" dirty="0"/>
              <a:t>Target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A framework based on Poseidon Princip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Carbon intensity –the focus of this framework(more suitable at individual voyages leve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EEOI(New method(Energy Efficiency Operating Indicator) vs EEDI(Energy Efficiency Design Index-Previous method for Tata Steel Group) till 2021</a:t>
            </a:r>
          </a:p>
          <a:p>
            <a:endParaRPr lang="en-US" sz="1200" dirty="0"/>
          </a:p>
          <a:p>
            <a:r>
              <a:rPr lang="en-US" sz="1200" b="1" dirty="0"/>
              <a:t>As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Linear correlation till 2050(Not actual and subject to change as assumptions will improv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Ballast leg to be considered for our emissions(Not the case previousl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EEOI Method to be used</a:t>
            </a:r>
          </a:p>
          <a:p>
            <a:endParaRPr lang="en-US" sz="1200" dirty="0"/>
          </a:p>
          <a:p>
            <a:r>
              <a:rPr lang="en-US" sz="1200" b="1" dirty="0"/>
              <a:t>Impact of SCC on Shipping Industry</a:t>
            </a:r>
          </a:p>
          <a:p>
            <a:r>
              <a:rPr lang="en-US" sz="1200" dirty="0"/>
              <a:t>Principles:</a:t>
            </a:r>
          </a:p>
          <a:p>
            <a:r>
              <a:rPr lang="en-US" sz="1200" dirty="0"/>
              <a:t>Assessment | Accountability | Enforcement | Transparency</a:t>
            </a:r>
          </a:p>
          <a:p>
            <a:r>
              <a:rPr lang="en-US" sz="1200" dirty="0"/>
              <a:t>Members: 29 Members like Cargill, </a:t>
            </a:r>
            <a:r>
              <a:rPr lang="en-US" sz="1200" dirty="0" err="1"/>
              <a:t>Klaveness</a:t>
            </a:r>
            <a:r>
              <a:rPr lang="en-US" sz="1200" dirty="0"/>
              <a:t>, Maersk </a:t>
            </a:r>
            <a:r>
              <a:rPr lang="en-US" sz="1200" dirty="0" err="1"/>
              <a:t>etc</a:t>
            </a:r>
            <a:endParaRPr lang="en-US" sz="1200" dirty="0"/>
          </a:p>
          <a:p>
            <a:endParaRPr lang="en-US" sz="1200" dirty="0"/>
          </a:p>
          <a:p>
            <a:r>
              <a:rPr lang="en-US" sz="1200" dirty="0"/>
              <a:t>This is a framework that enables industry leaders to report in a standard format and influence all stakeholders towards better sustainability goals</a:t>
            </a:r>
          </a:p>
          <a:p>
            <a:endParaRPr lang="en-US" sz="1200" dirty="0"/>
          </a:p>
          <a:p>
            <a:endParaRPr lang="en-US" sz="1200" dirty="0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23F9765-2CA7-48E4-8255-4462A9F8B485}"/>
              </a:ext>
            </a:extLst>
          </p:cNvPr>
          <p:cNvCxnSpPr>
            <a:cxnSpLocks/>
          </p:cNvCxnSpPr>
          <p:nvPr/>
        </p:nvCxnSpPr>
        <p:spPr bwMode="auto">
          <a:xfrm>
            <a:off x="3735754" y="1664677"/>
            <a:ext cx="922215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966418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132CD-8D1C-465F-B682-762C27CA41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Regulations (GHG Emissions-EU Legislation &amp; CII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8BEB4F-A524-4FB5-8769-827BAD8CD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5</a:t>
            </a:fld>
            <a:endParaRPr lang="en-GB" alt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C99852-6AC8-492B-AA0D-F9863892D854}"/>
              </a:ext>
            </a:extLst>
          </p:cNvPr>
          <p:cNvSpPr/>
          <p:nvPr/>
        </p:nvSpPr>
        <p:spPr>
          <a:xfrm>
            <a:off x="1609006" y="1187093"/>
            <a:ext cx="1171423" cy="95751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EU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A6330F21-7601-49E6-BA79-BDC222068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162050"/>
            <a:ext cx="970030" cy="97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6F2D6A1-8C47-45DF-AC0D-1EAE963DC77D}"/>
              </a:ext>
            </a:extLst>
          </p:cNvPr>
          <p:cNvSpPr txBox="1"/>
          <p:nvPr/>
        </p:nvSpPr>
        <p:spPr>
          <a:xfrm>
            <a:off x="134277" y="2238717"/>
            <a:ext cx="88144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arget</a:t>
            </a:r>
            <a:r>
              <a:rPr lang="en-US" sz="1600" dirty="0"/>
              <a:t> - EU Targets climate neutrality by 2050 and 55% reduction in GHG emissions by 2030</a:t>
            </a:r>
          </a:p>
          <a:p>
            <a:r>
              <a:rPr lang="en-US" sz="1600" b="1" dirty="0"/>
              <a:t>Regulation</a:t>
            </a:r>
            <a:r>
              <a:rPr lang="en-US" sz="1600" dirty="0"/>
              <a:t> - Shipping Industry to pay carbon taxes from 2023 under ETS in Europe as follows:</a:t>
            </a:r>
          </a:p>
        </p:txBody>
      </p:sp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00D3E83B-3C40-48D5-AC03-706C7190AF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887828"/>
              </p:ext>
            </p:extLst>
          </p:nvPr>
        </p:nvGraphicFramePr>
        <p:xfrm>
          <a:off x="226243" y="2987272"/>
          <a:ext cx="8814485" cy="671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52149">
                  <a:extLst>
                    <a:ext uri="{9D8B030D-6E8A-4147-A177-3AD203B41FA5}">
                      <a16:colId xmlns:a16="http://schemas.microsoft.com/office/drawing/2014/main" val="3432175858"/>
                    </a:ext>
                  </a:extLst>
                </a:gridCol>
                <a:gridCol w="1224435">
                  <a:extLst>
                    <a:ext uri="{9D8B030D-6E8A-4147-A177-3AD203B41FA5}">
                      <a16:colId xmlns:a16="http://schemas.microsoft.com/office/drawing/2014/main" val="2899214569"/>
                    </a:ext>
                  </a:extLst>
                </a:gridCol>
                <a:gridCol w="1161102">
                  <a:extLst>
                    <a:ext uri="{9D8B030D-6E8A-4147-A177-3AD203B41FA5}">
                      <a16:colId xmlns:a16="http://schemas.microsoft.com/office/drawing/2014/main" val="301789573"/>
                    </a:ext>
                  </a:extLst>
                </a:gridCol>
                <a:gridCol w="1203324">
                  <a:extLst>
                    <a:ext uri="{9D8B030D-6E8A-4147-A177-3AD203B41FA5}">
                      <a16:colId xmlns:a16="http://schemas.microsoft.com/office/drawing/2014/main" val="3872574037"/>
                    </a:ext>
                  </a:extLst>
                </a:gridCol>
                <a:gridCol w="1203324">
                  <a:extLst>
                    <a:ext uri="{9D8B030D-6E8A-4147-A177-3AD203B41FA5}">
                      <a16:colId xmlns:a16="http://schemas.microsoft.com/office/drawing/2014/main" val="1139601079"/>
                    </a:ext>
                  </a:extLst>
                </a:gridCol>
                <a:gridCol w="1270151">
                  <a:extLst>
                    <a:ext uri="{9D8B030D-6E8A-4147-A177-3AD203B41FA5}">
                      <a16:colId xmlns:a16="http://schemas.microsoft.com/office/drawing/2014/main" val="4175610049"/>
                    </a:ext>
                  </a:extLst>
                </a:gridCol>
              </a:tblGrid>
              <a:tr h="309306">
                <a:tc>
                  <a:txBody>
                    <a:bodyPr/>
                    <a:lstStyle/>
                    <a:p>
                      <a:r>
                        <a:rPr lang="en-US" sz="1400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53532"/>
                  </a:ext>
                </a:extLst>
              </a:tr>
              <a:tr h="361929">
                <a:tc>
                  <a:txBody>
                    <a:bodyPr/>
                    <a:lstStyle/>
                    <a:p>
                      <a:r>
                        <a:rPr lang="en-US" sz="1400" dirty="0"/>
                        <a:t>% of Actual Carbon Emis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4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006517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63E396F9-3106-4AB7-9A4E-C73950D689E4}"/>
              </a:ext>
            </a:extLst>
          </p:cNvPr>
          <p:cNvSpPr/>
          <p:nvPr/>
        </p:nvSpPr>
        <p:spPr>
          <a:xfrm>
            <a:off x="668663" y="3852364"/>
            <a:ext cx="305211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CII</a:t>
            </a:r>
          </a:p>
        </p:txBody>
      </p:sp>
      <p:sp>
        <p:nvSpPr>
          <p:cNvPr id="16" name="AutoShape 2" descr="See the source image">
            <a:extLst>
              <a:ext uri="{FF2B5EF4-FFF2-40B4-BE49-F238E27FC236}">
                <a16:creationId xmlns:a16="http://schemas.microsoft.com/office/drawing/2014/main" id="{360A4FCA-4534-49B4-B491-17FBE8DDE1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6" name="Picture 6" descr="See the source image">
            <a:extLst>
              <a:ext uri="{FF2B5EF4-FFF2-40B4-BE49-F238E27FC236}">
                <a16:creationId xmlns:a16="http://schemas.microsoft.com/office/drawing/2014/main" id="{93B7AB21-58B1-4429-BDD0-CCB31A842E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622" y="3793073"/>
            <a:ext cx="970030" cy="970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2FE6481-C61C-405B-A9DD-4BB684229503}"/>
              </a:ext>
            </a:extLst>
          </p:cNvPr>
          <p:cNvCxnSpPr>
            <a:cxnSpLocks/>
          </p:cNvCxnSpPr>
          <p:nvPr/>
        </p:nvCxnSpPr>
        <p:spPr bwMode="auto">
          <a:xfrm>
            <a:off x="258123" y="3746668"/>
            <a:ext cx="847312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F7DF8EA6-6FBB-4AEE-9A4C-786FED50BB02}"/>
              </a:ext>
            </a:extLst>
          </p:cNvPr>
          <p:cNvSpPr txBox="1"/>
          <p:nvPr/>
        </p:nvSpPr>
        <p:spPr>
          <a:xfrm>
            <a:off x="123825" y="4939474"/>
            <a:ext cx="8473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Basis IMO DCS dataset, A-E Rating will be given to all the existing vessels from 2023.</a:t>
            </a:r>
          </a:p>
          <a:p>
            <a:r>
              <a:rPr lang="en-US" sz="1600" dirty="0"/>
              <a:t>Basis Reduction Calculations after 2023, each vessel will have to keep upgrading themselves so as to maintain their current ratings. Following reduction factors from </a:t>
            </a:r>
            <a:r>
              <a:rPr lang="en-US" sz="1600" dirty="0" err="1"/>
              <a:t>ClassNK</a:t>
            </a:r>
            <a:endParaRPr lang="en-US" sz="1600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176E3804-B89D-474C-889B-652AB82DCCEC}"/>
              </a:ext>
            </a:extLst>
          </p:cNvPr>
          <p:cNvGrpSpPr/>
          <p:nvPr/>
        </p:nvGrpSpPr>
        <p:grpSpPr>
          <a:xfrm>
            <a:off x="4203488" y="3844608"/>
            <a:ext cx="4837239" cy="2163958"/>
            <a:chOff x="3894011" y="3937723"/>
            <a:chExt cx="4837239" cy="2163958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ADE6338-4D2B-40AA-8193-829B2B0208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5363" y="3937723"/>
              <a:ext cx="515887" cy="2163958"/>
            </a:xfrm>
            <a:prstGeom prst="rect">
              <a:avLst/>
            </a:prstGeom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6332EC1-1D83-41F3-8FE5-02DDD6F1C2DF}"/>
                </a:ext>
              </a:extLst>
            </p:cNvPr>
            <p:cNvGrpSpPr/>
            <p:nvPr/>
          </p:nvGrpSpPr>
          <p:grpSpPr>
            <a:xfrm>
              <a:off x="3894011" y="3937723"/>
              <a:ext cx="4321352" cy="1081979"/>
              <a:chOff x="3894011" y="4273437"/>
              <a:chExt cx="4321352" cy="1081979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D7C0F2CA-1BC9-4A5C-9511-BF6A69F2ABE8}"/>
                  </a:ext>
                </a:extLst>
              </p:cNvPr>
              <p:cNvCxnSpPr/>
              <p:nvPr/>
            </p:nvCxnSpPr>
            <p:spPr bwMode="auto">
              <a:xfrm flipH="1">
                <a:off x="4045901" y="5346980"/>
                <a:ext cx="4169462" cy="0"/>
              </a:xfrm>
              <a:prstGeom prst="line">
                <a:avLst/>
              </a:prstGeom>
              <a:ln w="38100"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E53C013-AEC6-42AF-BBB0-77E508DDF6F8}"/>
                  </a:ext>
                </a:extLst>
              </p:cNvPr>
              <p:cNvCxnSpPr/>
              <p:nvPr/>
            </p:nvCxnSpPr>
            <p:spPr bwMode="auto">
              <a:xfrm flipH="1">
                <a:off x="4045901" y="4292291"/>
                <a:ext cx="4169462" cy="0"/>
              </a:xfrm>
              <a:prstGeom prst="line">
                <a:avLst/>
              </a:prstGeom>
              <a:ln w="38100">
                <a:headEnd type="none" w="med" len="med"/>
                <a:tailEnd type="none" w="med" len="med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2CDD88EA-4616-4D62-BCE2-CBFFD502410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693790" y="4273437"/>
                <a:ext cx="0" cy="1081979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rgbClr val="808080"/>
                </a:solidFill>
                <a:prstDash val="sysDot"/>
                <a:round/>
                <a:headEnd type="none" w="med" len="med"/>
                <a:tailEnd type="triangle"/>
              </a:ln>
              <a:effectLst/>
            </p:spPr>
          </p:cxn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3DF1072-A9B7-410E-BBDE-3B0607C0CC1A}"/>
                  </a:ext>
                </a:extLst>
              </p:cNvPr>
              <p:cNvSpPr txBox="1"/>
              <p:nvPr/>
            </p:nvSpPr>
            <p:spPr>
              <a:xfrm>
                <a:off x="5693790" y="4627473"/>
                <a:ext cx="242268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/>
                  <a:t>Reduction from 2023 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2A1176B8-1203-4FD7-92D0-1FAF765B7EC3}"/>
                  </a:ext>
                </a:extLst>
              </p:cNvPr>
              <p:cNvSpPr txBox="1"/>
              <p:nvPr/>
            </p:nvSpPr>
            <p:spPr>
              <a:xfrm>
                <a:off x="3894011" y="4293137"/>
                <a:ext cx="242268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2019 Reference Line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C382D4EC-AF6A-4E27-BD63-29221E34DD7C}"/>
                  </a:ext>
                </a:extLst>
              </p:cNvPr>
              <p:cNvSpPr txBox="1"/>
              <p:nvPr/>
            </p:nvSpPr>
            <p:spPr>
              <a:xfrm>
                <a:off x="3894011" y="5105775"/>
                <a:ext cx="242268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/>
                  <a:t>New Reference Line</a:t>
                </a:r>
              </a:p>
            </p:txBody>
          </p:sp>
        </p:grpSp>
      </p:grpSp>
      <p:graphicFrame>
        <p:nvGraphicFramePr>
          <p:cNvPr id="33" name="Table 12">
            <a:extLst>
              <a:ext uri="{FF2B5EF4-FFF2-40B4-BE49-F238E27FC236}">
                <a16:creationId xmlns:a16="http://schemas.microsoft.com/office/drawing/2014/main" id="{263CF22C-7C97-4434-89AF-F12CB0510F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134233"/>
              </p:ext>
            </p:extLst>
          </p:nvPr>
        </p:nvGraphicFramePr>
        <p:xfrm>
          <a:off x="258123" y="5778434"/>
          <a:ext cx="7890730" cy="624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9236">
                  <a:extLst>
                    <a:ext uri="{9D8B030D-6E8A-4147-A177-3AD203B41FA5}">
                      <a16:colId xmlns:a16="http://schemas.microsoft.com/office/drawing/2014/main" val="2835993713"/>
                    </a:ext>
                  </a:extLst>
                </a:gridCol>
                <a:gridCol w="1493520">
                  <a:extLst>
                    <a:ext uri="{9D8B030D-6E8A-4147-A177-3AD203B41FA5}">
                      <a16:colId xmlns:a16="http://schemas.microsoft.com/office/drawing/2014/main" val="301789573"/>
                    </a:ext>
                  </a:extLst>
                </a:gridCol>
                <a:gridCol w="1229360">
                  <a:extLst>
                    <a:ext uri="{9D8B030D-6E8A-4147-A177-3AD203B41FA5}">
                      <a16:colId xmlns:a16="http://schemas.microsoft.com/office/drawing/2014/main" val="3872574037"/>
                    </a:ext>
                  </a:extLst>
                </a:gridCol>
                <a:gridCol w="1198880">
                  <a:extLst>
                    <a:ext uri="{9D8B030D-6E8A-4147-A177-3AD203B41FA5}">
                      <a16:colId xmlns:a16="http://schemas.microsoft.com/office/drawing/2014/main" val="1139601079"/>
                    </a:ext>
                  </a:extLst>
                </a:gridCol>
                <a:gridCol w="1219734">
                  <a:extLst>
                    <a:ext uri="{9D8B030D-6E8A-4147-A177-3AD203B41FA5}">
                      <a16:colId xmlns:a16="http://schemas.microsoft.com/office/drawing/2014/main" val="4175610049"/>
                    </a:ext>
                  </a:extLst>
                </a:gridCol>
              </a:tblGrid>
              <a:tr h="312112">
                <a:tc>
                  <a:txBody>
                    <a:bodyPr/>
                    <a:lstStyle/>
                    <a:p>
                      <a:r>
                        <a:rPr lang="en-US" sz="1400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0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53532"/>
                  </a:ext>
                </a:extLst>
              </a:tr>
              <a:tr h="312112">
                <a:tc>
                  <a:txBody>
                    <a:bodyPr/>
                    <a:lstStyle/>
                    <a:p>
                      <a:r>
                        <a:rPr lang="en-US" sz="1400" dirty="0"/>
                        <a:t>Reduction % from Ref 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2006517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9812F6FE-1FE2-4404-8C2C-A9E4D9660238}"/>
              </a:ext>
            </a:extLst>
          </p:cNvPr>
          <p:cNvSpPr/>
          <p:nvPr/>
        </p:nvSpPr>
        <p:spPr>
          <a:xfrm>
            <a:off x="3894011" y="1299302"/>
            <a:ext cx="1689713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b="1" cap="none" spc="0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ETS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D6FBC33E-E1C7-4ACE-A066-583B0D0E8F31}"/>
              </a:ext>
            </a:extLst>
          </p:cNvPr>
          <p:cNvCxnSpPr/>
          <p:nvPr/>
        </p:nvCxnSpPr>
        <p:spPr bwMode="auto">
          <a:xfrm>
            <a:off x="3024117" y="1660124"/>
            <a:ext cx="1104000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808080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E4961949-7D0C-4010-8A05-00AD519440AE}"/>
              </a:ext>
            </a:extLst>
          </p:cNvPr>
          <p:cNvSpPr txBox="1"/>
          <p:nvPr/>
        </p:nvSpPr>
        <p:spPr>
          <a:xfrm>
            <a:off x="2194717" y="6433970"/>
            <a:ext cx="694059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dirty="0"/>
              <a:t>ETS – Emissions Trading System, EU – European Union, </a:t>
            </a:r>
            <a:r>
              <a:rPr lang="en-US" sz="1100" dirty="0" err="1"/>
              <a:t>ClassNK</a:t>
            </a:r>
            <a:r>
              <a:rPr lang="en-US" sz="1100" dirty="0"/>
              <a:t> – Class Nippon </a:t>
            </a:r>
            <a:r>
              <a:rPr lang="en-US" sz="1100" dirty="0" err="1"/>
              <a:t>Kaiji</a:t>
            </a:r>
            <a:r>
              <a:rPr lang="en-US" sz="1100" dirty="0"/>
              <a:t> </a:t>
            </a:r>
            <a:r>
              <a:rPr lang="en-US" sz="1100" dirty="0" err="1"/>
              <a:t>Kyokai</a:t>
            </a:r>
            <a:endParaRPr lang="en-US" sz="1100" dirty="0"/>
          </a:p>
          <a:p>
            <a:pPr algn="r"/>
            <a:r>
              <a:rPr lang="en-US" sz="1100" dirty="0"/>
              <a:t>CII – Carbon Intensity Indicator, IMO DCS - International </a:t>
            </a:r>
            <a:r>
              <a:rPr lang="en-US" sz="1100" dirty="0" err="1"/>
              <a:t>Martime</a:t>
            </a:r>
            <a:r>
              <a:rPr lang="en-US" sz="1100" dirty="0"/>
              <a:t> Organization – Data Collection System</a:t>
            </a:r>
          </a:p>
          <a:p>
            <a:pPr algn="r"/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956165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97F535-3656-40BA-B9FA-05FF056100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 ETS Marke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3DF8C7-B2D5-43D7-8E34-C3279C2D3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6</a:t>
            </a:fld>
            <a:endParaRPr lang="en-GB" altLang="nl-NL"/>
          </a:p>
        </p:txBody>
      </p:sp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52D8ABCC-5F0A-4476-BE44-18CE868DB9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825" y="1054699"/>
            <a:ext cx="5627362" cy="301745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AA1DCD-398E-4EB7-8019-B81776E732DC}"/>
              </a:ext>
            </a:extLst>
          </p:cNvPr>
          <p:cNvSpPr txBox="1"/>
          <p:nvPr/>
        </p:nvSpPr>
        <p:spPr>
          <a:xfrm>
            <a:off x="2817970" y="4024757"/>
            <a:ext cx="10653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Yea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4CE8C6-B645-42DF-8B12-DAAECB348DA5}"/>
              </a:ext>
            </a:extLst>
          </p:cNvPr>
          <p:cNvSpPr txBox="1"/>
          <p:nvPr/>
        </p:nvSpPr>
        <p:spPr>
          <a:xfrm>
            <a:off x="5356072" y="2332595"/>
            <a:ext cx="87888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EUR/T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80063A-56FE-4A29-BC73-7D1D51AB0E3A}"/>
              </a:ext>
            </a:extLst>
          </p:cNvPr>
          <p:cNvSpPr txBox="1"/>
          <p:nvPr/>
        </p:nvSpPr>
        <p:spPr>
          <a:xfrm>
            <a:off x="5867297" y="3763147"/>
            <a:ext cx="2970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06C306-2F67-4F9B-A12D-6B310EA9CDD9}"/>
              </a:ext>
            </a:extLst>
          </p:cNvPr>
          <p:cNvSpPr txBox="1"/>
          <p:nvPr/>
        </p:nvSpPr>
        <p:spPr>
          <a:xfrm>
            <a:off x="6009602" y="1054699"/>
            <a:ext cx="273911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ETS is a system in which a limit is set on total carbon emissions which is then assigned to various installations as free allowanc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This limit is reduced over the years aligning with the EU sustainability goals and currently stands at 79% of 2005 emiss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It is proposed that the limit be reduced by 43% by 203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ETS allows for trading of EUA’s(European Union Allowance) which are limited giving them a financial value and hence, fluctuations of its pr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pic>
        <p:nvPicPr>
          <p:cNvPr id="14" name="Picture 13" descr="A picture containing logo&#10;&#10;Description automatically generated">
            <a:extLst>
              <a:ext uri="{FF2B5EF4-FFF2-40B4-BE49-F238E27FC236}">
                <a16:creationId xmlns:a16="http://schemas.microsoft.com/office/drawing/2014/main" id="{9EE957EC-A066-4F6C-B7A1-0B44F9B07E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808" y="4008792"/>
            <a:ext cx="3661029" cy="261915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4476B5C-E51B-481C-A0D4-9432EA02282D}"/>
              </a:ext>
            </a:extLst>
          </p:cNvPr>
          <p:cNvSpPr txBox="1"/>
          <p:nvPr/>
        </p:nvSpPr>
        <p:spPr>
          <a:xfrm>
            <a:off x="212484" y="5019402"/>
            <a:ext cx="28492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A had 100 EUA. It invested in decarbonization technologies and reduced Carbon Emissions to only 80 MT. It can sell the remaining 20EUA in the market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5A5C3A-9AC1-4446-80CC-F5CC95CE184A}"/>
              </a:ext>
            </a:extLst>
          </p:cNvPr>
          <p:cNvSpPr txBox="1"/>
          <p:nvPr/>
        </p:nvSpPr>
        <p:spPr>
          <a:xfrm>
            <a:off x="6082280" y="5050908"/>
            <a:ext cx="2849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 had 100 EUA. It Carbon Emissions increased to 120 MT. It can buy the remaining 20EUA from the marke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253D26-A94F-4600-9338-CABA398CE7F7}"/>
              </a:ext>
            </a:extLst>
          </p:cNvPr>
          <p:cNvSpPr/>
          <p:nvPr/>
        </p:nvSpPr>
        <p:spPr>
          <a:xfrm>
            <a:off x="-34132" y="6519650"/>
            <a:ext cx="923448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en-GB" sz="9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Source </a:t>
            </a:r>
            <a:r>
              <a:rPr lang="en-GB" sz="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- https://www.emissionsauthority.nl/topics/what-is-emissions-trading#:~:text=Emissions%20trading%20(EU%20ETS)%20is,those%20of%20the%20Kyoto%20Protocol.&amp;text=Purchasers%20and%20suppliers%20trade%20in,a%20market%20price%20for%20CO2</a:t>
            </a:r>
            <a:r>
              <a:rPr lang="en-GB" sz="800" dirty="0">
                <a:latin typeface="Calibri" panose="020F0502020204030204" pitchFamily="34" charset="0"/>
                <a:ea typeface="Calibri" panose="020F0502020204030204" pitchFamily="34" charset="0"/>
              </a:rPr>
              <a:t>.</a:t>
            </a:r>
            <a:endParaRPr lang="en-US" sz="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9ADD5D-D840-4696-9E89-3ADB8E38159E}"/>
              </a:ext>
            </a:extLst>
          </p:cNvPr>
          <p:cNvSpPr txBox="1"/>
          <p:nvPr/>
        </p:nvSpPr>
        <p:spPr>
          <a:xfrm>
            <a:off x="5311742" y="1352017"/>
            <a:ext cx="878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79-80 EUR</a:t>
            </a:r>
          </a:p>
          <a:p>
            <a:r>
              <a:rPr lang="en-US" sz="1000" dirty="0"/>
              <a:t>For CY22</a:t>
            </a:r>
          </a:p>
        </p:txBody>
      </p:sp>
    </p:spTree>
    <p:extLst>
      <p:ext uri="{BB962C8B-B14F-4D97-AF65-F5344CB8AC3E}">
        <p14:creationId xmlns:p14="http://schemas.microsoft.com/office/powerpoint/2010/main" val="41952305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B23A8-765B-451A-99EF-57CE7A93D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s available to charterers like TATA STE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9CDB4C-109F-460F-89AD-85B0E5ADB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7</a:t>
            </a:fld>
            <a:endParaRPr lang="en-GB" alt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C2AFA4D-BCFF-4E9B-BD7D-BD4B2E906991}"/>
              </a:ext>
            </a:extLst>
          </p:cNvPr>
          <p:cNvSpPr/>
          <p:nvPr/>
        </p:nvSpPr>
        <p:spPr>
          <a:xfrm>
            <a:off x="1064794" y="3087137"/>
            <a:ext cx="7500678" cy="52322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arger size Vessels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B87D97-BCA6-465B-8C8A-52D7FF9E69FF}"/>
              </a:ext>
            </a:extLst>
          </p:cNvPr>
          <p:cNvSpPr/>
          <p:nvPr/>
        </p:nvSpPr>
        <p:spPr>
          <a:xfrm>
            <a:off x="1064794" y="2092739"/>
            <a:ext cx="7500678" cy="52322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mproving Technical Specifications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151ED47-49A6-4327-BE72-35FD2C9D6FAD}"/>
              </a:ext>
            </a:extLst>
          </p:cNvPr>
          <p:cNvSpPr/>
          <p:nvPr/>
        </p:nvSpPr>
        <p:spPr>
          <a:xfrm>
            <a:off x="1064793" y="4076804"/>
            <a:ext cx="7500678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lternative fuels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D51A1F8-FE31-461B-AC28-5650158564EB}"/>
              </a:ext>
            </a:extLst>
          </p:cNvPr>
          <p:cNvSpPr/>
          <p:nvPr/>
        </p:nvSpPr>
        <p:spPr>
          <a:xfrm>
            <a:off x="1064793" y="5064138"/>
            <a:ext cx="7500678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duction of Port time/Demurrage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B636A9-F37F-4CA5-B84E-FB0450367079}"/>
              </a:ext>
            </a:extLst>
          </p:cNvPr>
          <p:cNvSpPr/>
          <p:nvPr/>
        </p:nvSpPr>
        <p:spPr>
          <a:xfrm>
            <a:off x="1064794" y="1098342"/>
            <a:ext cx="7500678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ustainable Governance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990AEB-E5EC-4AFD-899F-2E2A7F15012B}"/>
              </a:ext>
            </a:extLst>
          </p:cNvPr>
          <p:cNvSpPr/>
          <p:nvPr/>
        </p:nvSpPr>
        <p:spPr>
          <a:xfrm>
            <a:off x="1064793" y="6004252"/>
            <a:ext cx="7500678" cy="52322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8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nowledge Sharing</a:t>
            </a:r>
            <a:endParaRPr lang="en-US" sz="2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D9B17217-7F1D-4504-99E3-FE724C6D9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047360"/>
            <a:ext cx="618478" cy="61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39C41D68-F4B1-417E-A9F6-85C8BB36EB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9" y="2045110"/>
            <a:ext cx="618477" cy="618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4BB193F4-1161-4D8C-9EB3-24A51DDEA3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2991880"/>
            <a:ext cx="618478" cy="61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15D78080-6FBB-48D8-B79D-1E34D2819E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029175"/>
            <a:ext cx="618478" cy="61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B19B5541-76F8-4D66-B9E4-9909397A10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014176"/>
            <a:ext cx="618478" cy="61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>
            <a:extLst>
              <a:ext uri="{FF2B5EF4-FFF2-40B4-BE49-F238E27FC236}">
                <a16:creationId xmlns:a16="http://schemas.microsoft.com/office/drawing/2014/main" id="{487E1050-EADF-4BC7-8C46-31D853683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956623"/>
            <a:ext cx="618478" cy="618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4558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58C5F5-58F5-4614-B932-E7644C159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ility Initiativ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173AAB-5DCF-4A0C-A675-5AA964971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8</a:t>
            </a:fld>
            <a:endParaRPr lang="en-GB" altLang="nl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CAD1B6-AE53-4190-B6CE-8D3CE5431CB0}"/>
              </a:ext>
            </a:extLst>
          </p:cNvPr>
          <p:cNvSpPr txBox="1"/>
          <p:nvPr/>
        </p:nvSpPr>
        <p:spPr>
          <a:xfrm>
            <a:off x="3092126" y="1057682"/>
            <a:ext cx="2811779" cy="5386090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Optimization</a:t>
            </a:r>
            <a:r>
              <a:rPr lang="en-US" sz="2000" dirty="0">
                <a:highlight>
                  <a:srgbClr val="FFFF00"/>
                </a:highlight>
              </a:rPr>
              <a:t> </a:t>
            </a:r>
          </a:p>
          <a:p>
            <a:pPr algn="ctr"/>
            <a:endParaRPr lang="en-US" sz="1400" dirty="0">
              <a:highlight>
                <a:srgbClr val="FFFF00"/>
              </a:highlight>
            </a:endParaRPr>
          </a:p>
          <a:p>
            <a:r>
              <a:rPr lang="en-US" sz="1400" b="1" dirty="0" err="1"/>
              <a:t>Rightship</a:t>
            </a:r>
            <a:endParaRPr lang="en-US" sz="14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Baselining for Sustainability Strategy </a:t>
            </a:r>
          </a:p>
          <a:p>
            <a:endParaRPr lang="en-US" sz="1400" b="1" dirty="0"/>
          </a:p>
          <a:p>
            <a:r>
              <a:rPr lang="en-GB" sz="1400" b="1" dirty="0"/>
              <a:t>Optimum Voy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Optimising voyage times of the vess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Reduce GHG Emission with the help of Big Data</a:t>
            </a:r>
          </a:p>
          <a:p>
            <a:endParaRPr lang="en-GB" sz="1400" b="1" dirty="0"/>
          </a:p>
          <a:p>
            <a:r>
              <a:rPr lang="en-GB" sz="1400" b="1" dirty="0"/>
              <a:t>GHG Emission Poli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Focus on greener vessels with less GHG emissions.</a:t>
            </a:r>
            <a:r>
              <a:rPr lang="en-GB" sz="1400" b="1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b="1" dirty="0"/>
          </a:p>
          <a:p>
            <a:r>
              <a:rPr lang="en-GB" sz="1400" b="1" dirty="0"/>
              <a:t>Se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Prediction and comparison of GHG emissions for voy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Better decision making for chartering </a:t>
            </a:r>
          </a:p>
          <a:p>
            <a:endParaRPr lang="en-GB" sz="1400" dirty="0"/>
          </a:p>
          <a:p>
            <a:endParaRPr lang="en-GB" sz="1400" dirty="0"/>
          </a:p>
          <a:p>
            <a:endParaRPr lang="en-GB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538E8B-90CF-4E88-823F-190EA704376F}"/>
              </a:ext>
            </a:extLst>
          </p:cNvPr>
          <p:cNvSpPr txBox="1"/>
          <p:nvPr/>
        </p:nvSpPr>
        <p:spPr>
          <a:xfrm>
            <a:off x="195446" y="1059577"/>
            <a:ext cx="2811779" cy="5386090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Leaders</a:t>
            </a:r>
            <a:r>
              <a:rPr lang="en-US" sz="2400" dirty="0">
                <a:highlight>
                  <a:srgbClr val="FFFF00"/>
                </a:highlight>
              </a:rPr>
              <a:t> </a:t>
            </a:r>
          </a:p>
          <a:p>
            <a:pPr algn="ctr"/>
            <a:endParaRPr lang="en-US" sz="1200" dirty="0">
              <a:highlight>
                <a:srgbClr val="FFFF00"/>
              </a:highlight>
            </a:endParaRPr>
          </a:p>
          <a:p>
            <a:r>
              <a:rPr lang="en-GB" sz="1400" b="1" dirty="0"/>
              <a:t>Sea Cargo Chart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Became members in Aug 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First Steel producer to joi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/>
              <a:t>A framework for shipping Decarboniz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 b="1" dirty="0"/>
          </a:p>
          <a:p>
            <a:endParaRPr lang="en-US" sz="1400" dirty="0"/>
          </a:p>
          <a:p>
            <a:r>
              <a:rPr lang="en-US" sz="1400" b="1" dirty="0"/>
              <a:t>Baltic Exchange membership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Membership from Feb 202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/>
          </a:p>
          <a:p>
            <a:r>
              <a:rPr lang="en-US" sz="1400" b="1" dirty="0"/>
              <a:t>Baltic &amp; International Maritime Counc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Future compliance with IMO emission regulations </a:t>
            </a:r>
          </a:p>
          <a:p>
            <a:endParaRPr lang="en-US" sz="1400" b="1" dirty="0">
              <a:latin typeface="+mj-lt"/>
            </a:endParaRPr>
          </a:p>
          <a:p>
            <a:endParaRPr lang="en-US" sz="1400" b="1" dirty="0"/>
          </a:p>
          <a:p>
            <a:r>
              <a:rPr lang="en-US" sz="1400" b="1" dirty="0"/>
              <a:t>Getting to Zero Coali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Knowledge Sha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BC8968-54E3-4AAB-AC0F-DBFD64E44760}"/>
              </a:ext>
            </a:extLst>
          </p:cNvPr>
          <p:cNvSpPr txBox="1"/>
          <p:nvPr/>
        </p:nvSpPr>
        <p:spPr>
          <a:xfrm>
            <a:off x="5988806" y="1057682"/>
            <a:ext cx="2899745" cy="5386090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Alternative Fuels</a:t>
            </a:r>
          </a:p>
          <a:p>
            <a:pPr algn="ctr"/>
            <a:r>
              <a:rPr lang="en-US" b="1" dirty="0"/>
              <a:t> </a:t>
            </a:r>
            <a:r>
              <a:rPr lang="en-US" dirty="0">
                <a:highlight>
                  <a:srgbClr val="FFFF00"/>
                </a:highlight>
              </a:rPr>
              <a:t> </a:t>
            </a:r>
            <a:endParaRPr lang="en-GB" b="1" dirty="0"/>
          </a:p>
          <a:p>
            <a:r>
              <a:rPr lang="en-GB" b="1" dirty="0"/>
              <a:t>	Wind </a:t>
            </a:r>
          </a:p>
          <a:p>
            <a:endParaRPr lang="en-GB" b="1" dirty="0"/>
          </a:p>
          <a:p>
            <a:endParaRPr lang="en-GB" b="1" dirty="0"/>
          </a:p>
          <a:p>
            <a:r>
              <a:rPr lang="en-GB" b="1" dirty="0"/>
              <a:t>	Green Ammonia  </a:t>
            </a:r>
          </a:p>
          <a:p>
            <a:endParaRPr lang="en-GB" b="1" dirty="0"/>
          </a:p>
          <a:p>
            <a:endParaRPr lang="en-GB" sz="1400" b="1" dirty="0"/>
          </a:p>
          <a:p>
            <a:r>
              <a:rPr lang="en-GB" b="1" dirty="0"/>
              <a:t>	Bio Fuels </a:t>
            </a:r>
          </a:p>
          <a:p>
            <a:r>
              <a:rPr lang="en-GB" b="1" dirty="0"/>
              <a:t> </a:t>
            </a:r>
          </a:p>
          <a:p>
            <a:endParaRPr lang="en-GB" b="1" dirty="0"/>
          </a:p>
          <a:p>
            <a:r>
              <a:rPr lang="en-GB" b="1" dirty="0"/>
              <a:t>	Electric  - Shore 	Power</a:t>
            </a:r>
          </a:p>
          <a:p>
            <a:endParaRPr lang="en-GB" b="1" dirty="0"/>
          </a:p>
          <a:p>
            <a:endParaRPr lang="en-GB" b="1" dirty="0"/>
          </a:p>
          <a:p>
            <a:r>
              <a:rPr lang="en-GB" b="1" dirty="0"/>
              <a:t>	Hydrogen</a:t>
            </a:r>
          </a:p>
          <a:p>
            <a:endParaRPr lang="en-GB" b="1" dirty="0"/>
          </a:p>
          <a:p>
            <a:endParaRPr lang="en-GB" b="1" dirty="0"/>
          </a:p>
          <a:p>
            <a:r>
              <a:rPr lang="en-GB" b="1" dirty="0"/>
              <a:t>	LNG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BD05B8FA-C83E-484E-84C0-7EBA3BB43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949" y="1734901"/>
            <a:ext cx="379600" cy="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3F50CFED-B6D0-42C1-BFC2-81992AE6C9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0" t="8247" r="24742" b="14433"/>
          <a:stretch/>
        </p:blipFill>
        <p:spPr bwMode="auto">
          <a:xfrm>
            <a:off x="6400131" y="2403616"/>
            <a:ext cx="393111" cy="500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4251BDB-34B5-4BD3-87DF-DAD1CA1A56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4103" y="3276012"/>
            <a:ext cx="372213" cy="379600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C1FB97F-754B-4D8C-99ED-CDA08F9A3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633" y="4233843"/>
            <a:ext cx="393111" cy="393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C66F34-4614-49FE-A695-881DC116C9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0131" y="5104701"/>
            <a:ext cx="440158" cy="440158"/>
          </a:xfrm>
          <a:prstGeom prst="rect">
            <a:avLst/>
          </a:prstGeom>
        </p:spPr>
      </p:pic>
      <p:pic>
        <p:nvPicPr>
          <p:cNvPr id="15" name="Picture 10" descr="Bio, cng, container, cylinder, fuel, gasoline, lpg icon - Download on  Iconfinder">
            <a:extLst>
              <a:ext uri="{FF2B5EF4-FFF2-40B4-BE49-F238E27FC236}">
                <a16:creationId xmlns:a16="http://schemas.microsoft.com/office/drawing/2014/main" id="{8B7C0CE4-F311-4E0C-B478-C306D36ACA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2273" y="5977940"/>
            <a:ext cx="465832" cy="465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33888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B23835-E6EB-48DE-B134-150CC1B4B4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hange footer via View menu/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F24580-E3F7-43A3-B3DE-D8610D8A8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ECD5676-DA1E-4CBB-8EB5-8DEB0461C453}" type="slidenum">
              <a:rPr lang="en-GB" altLang="nl-NL" smtClean="0"/>
              <a:pPr>
                <a:defRPr/>
              </a:pPr>
              <a:t>9</a:t>
            </a:fld>
            <a:endParaRPr lang="en-GB" altLang="nl-NL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8ED775-BD96-43B6-BEED-E119E46D1924}"/>
              </a:ext>
            </a:extLst>
          </p:cNvPr>
          <p:cNvSpPr txBox="1"/>
          <p:nvPr/>
        </p:nvSpPr>
        <p:spPr>
          <a:xfrm>
            <a:off x="2290439" y="3044279"/>
            <a:ext cx="44033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</a:rPr>
              <a:t>Backup Slides</a:t>
            </a:r>
            <a:endParaRPr lang="en-US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107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7&quot;&gt;&lt;elem m_fUsage=&quot;3.25549867905351100000E+000&quot;&gt;&lt;m_ppcolschidx val=&quot;0&quot;/&gt;&lt;m_rgb r=&quot;34&quot; g=&quot;b2&quot; b=&quot;33&quot;/&gt;&lt;m_nBrightness val=&quot;0&quot;/&gt;&lt;/elem&gt;&lt;elem m_fUsage=&quot;1.00000000000000000000E+000&quot;&gt;&lt;m_ppcolschidx val=&quot;0&quot;/&gt;&lt;m_rgb r=&quot;0&quot; g=&quot;2b&quot; b=&quot;45&quot;/&gt;&lt;m_nBrightness val=&quot;0&quot;/&gt;&lt;/elem&gt;&lt;elem m_fUsage=&quot;9.00000000000000020000E-001&quot;&gt;&lt;m_ppcolschidx val=&quot;0&quot;/&gt;&lt;m_rgb r=&quot;e1&quot; g=&quot;d9&quot; b=&quot;99&quot;/&gt;&lt;m_nBrightness val=&quot;0&quot;/&gt;&lt;/elem&gt;&lt;elem m_fUsage=&quot;8.10000000000000050000E-001&quot;&gt;&lt;m_ppcolschidx val=&quot;0&quot;/&gt;&lt;m_rgb r=&quot;e1&quot; g=&quot;bd&quot; b=&quot;4d&quot;/&gt;&lt;m_nBrightness val=&quot;0&quot;/&gt;&lt;/elem&gt;&lt;elem m_fUsage=&quot;7.29000000000000090000E-001&quot;&gt;&lt;m_ppcolschidx val=&quot;0&quot;/&gt;&lt;m_rgb r=&quot;ff&quot; g=&quot;a1&quot; b=&quot;0&quot;/&gt;&lt;m_nBrightness val=&quot;0&quot;/&gt;&lt;/elem&gt;&lt;elem m_fUsage=&quot;6.56100000000000130000E-001&quot;&gt;&lt;m_ppcolschidx val=&quot;0&quot;/&gt;&lt;m_rgb r=&quot;0&quot; g=&quot;83&quot; b=&quot;a9&quot;/&gt;&lt;m_nBrightness val=&quot;0&quot;/&gt;&lt;/elem&gt;&lt;elem m_fUsage=&quot;5.90490000000000180000E-001&quot;&gt;&lt;m_ppcolschidx val=&quot;0&quot;/&gt;&lt;m_rgb r=&quot;5a&quot; g=&quot;24&quot; b=&quot;5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60"/>
  <p:tag name="ORIGTOP" val="139.125"/>
  <p:tag name="ORIGHEIGHT" val="22.25"/>
  <p:tag name="ORIGWIDTH" val="22.5"/>
  <p:tag name="THINKCELLSHAPEDONOTDELETE" val="pW7UPELdOmUqDJEFTSyTRe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88.125"/>
  <p:tag name="ORIGTOP" val="139.125"/>
  <p:tag name="ORIGHEIGHT" val="22.25"/>
  <p:tag name="ORIGWIDTH" val="22.5"/>
  <p:tag name="THINKCELLSHAPEDONOTDELETE" val="pK.feDo1h3U2Y1jodpeGT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416.25"/>
  <p:tag name="ORIGTOP" val="139.125"/>
  <p:tag name="ORIGHEIGHT" val="22.25"/>
  <p:tag name="ORIGWIDTH" val="22.5"/>
  <p:tag name="THINKCELLSHAPEDONOTDELETE" val="pDgQjdHRpHEidRg1tBWNS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03.875"/>
  <p:tag name="ORIGTOP" val="139.125"/>
  <p:tag name="ORIGHEIGHT" val="22.25"/>
  <p:tag name="ORIGWIDTH" val="22.5"/>
  <p:tag name="THINKCELLSHAPEDONOTDELETE" val="pT4X4m9KDt0ykv35NKgND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31.875"/>
  <p:tag name="ORIGTOP" val="139.125"/>
  <p:tag name="ORIGHEIGHT" val="22.25"/>
  <p:tag name="ORIGWIDTH" val="22.5"/>
  <p:tag name="THINKCELLSHAPEDONOTDELETE" val="pqyoXwDW.2kqRy4HzPlmzGg"/>
</p:tagLst>
</file>

<file path=ppt/theme/theme1.xml><?xml version="1.0" encoding="utf-8"?>
<a:theme xmlns:a="http://schemas.openxmlformats.org/drawingml/2006/main" name="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7_PP-2007-2010-slidepool-light">
  <a:themeElements>
    <a:clrScheme name="Tata Steel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A100"/>
      </a:accent3>
      <a:accent4>
        <a:srgbClr val="34B233"/>
      </a:accent4>
      <a:accent5>
        <a:srgbClr val="0083A9"/>
      </a:accent5>
      <a:accent6>
        <a:srgbClr val="002B45"/>
      </a:accent6>
      <a:hlink>
        <a:srgbClr val="000000"/>
      </a:hlink>
      <a:folHlink>
        <a:srgbClr val="000000"/>
      </a:folHlink>
    </a:clrScheme>
    <a:fontScheme name="Tata Steel them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9050" cap="flat" cmpd="sng" algn="ctr">
          <a:solidFill>
            <a:srgbClr val="808080"/>
          </a:solidFill>
          <a:prstDash val="sysDot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Tata Steel theme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PP-2007-2010-slidepool-light">
  <a:themeElements>
    <a:clrScheme name="">
      <a:dk1>
        <a:srgbClr val="000000"/>
      </a:dk1>
      <a:lt1>
        <a:srgbClr val="FFFFFF"/>
      </a:lt1>
      <a:dk2>
        <a:srgbClr val="3D7EDB"/>
      </a:dk2>
      <a:lt2>
        <a:srgbClr val="999999"/>
      </a:lt2>
      <a:accent1>
        <a:srgbClr val="5A245A"/>
      </a:accent1>
      <a:accent2>
        <a:srgbClr val="ED2939"/>
      </a:accent2>
      <a:accent3>
        <a:srgbClr val="FFFFFF"/>
      </a:accent3>
      <a:accent4>
        <a:srgbClr val="000000"/>
      </a:accent4>
      <a:accent5>
        <a:srgbClr val="B5ACB5"/>
      </a:accent5>
      <a:accent6>
        <a:srgbClr val="D72433"/>
      </a:accent6>
      <a:hlink>
        <a:srgbClr val="000000"/>
      </a:hlink>
      <a:folHlink>
        <a:srgbClr val="000000"/>
      </a:folHlink>
    </a:clrScheme>
    <a:fontScheme name="6_PP-2007-2010-slidepool-ligh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6_PP-2007-2010-slidepool-light 1">
        <a:dk1>
          <a:srgbClr val="000000"/>
        </a:dk1>
        <a:lt1>
          <a:srgbClr val="FFFFFF"/>
        </a:lt1>
        <a:dk2>
          <a:srgbClr val="3D7EDB"/>
        </a:dk2>
        <a:lt2>
          <a:srgbClr val="999999"/>
        </a:lt2>
        <a:accent1>
          <a:srgbClr val="002B45"/>
        </a:accent1>
        <a:accent2>
          <a:srgbClr val="0083A9"/>
        </a:accent2>
        <a:accent3>
          <a:srgbClr val="FFFFFF"/>
        </a:accent3>
        <a:accent4>
          <a:srgbClr val="000000"/>
        </a:accent4>
        <a:accent5>
          <a:srgbClr val="AAACB0"/>
        </a:accent5>
        <a:accent6>
          <a:srgbClr val="007699"/>
        </a:accent6>
        <a:hlink>
          <a:srgbClr val="34B233"/>
        </a:hlink>
        <a:folHlink>
          <a:srgbClr val="ED29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934B093728584E96E8457A4A5B5B48" ma:contentTypeVersion="13" ma:contentTypeDescription="Create a new document." ma:contentTypeScope="" ma:versionID="e5ed070beadd7beeedf891803debc35d">
  <xsd:schema xmlns:xsd="http://www.w3.org/2001/XMLSchema" xmlns:xs="http://www.w3.org/2001/XMLSchema" xmlns:p="http://schemas.microsoft.com/office/2006/metadata/properties" xmlns:ns3="ee507a60-fa04-4313-9540-68344bf9ff1b" xmlns:ns4="3a729cc2-9f6c-4d59-b548-c275a8c7697c" targetNamespace="http://schemas.microsoft.com/office/2006/metadata/properties" ma:root="true" ma:fieldsID="2e34f5758698285639a084e1ad87d85b" ns3:_="" ns4:_="">
    <xsd:import namespace="ee507a60-fa04-4313-9540-68344bf9ff1b"/>
    <xsd:import namespace="3a729cc2-9f6c-4d59-b548-c275a8c7697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507a60-fa04-4313-9540-68344bf9ff1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29cc2-9f6c-4d59-b548-c275a8c7697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AF696C-CA53-47BB-9698-A9E9B8743D4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744E945-34B0-4FE2-9914-E08B79996C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e507a60-fa04-4313-9540-68344bf9ff1b"/>
    <ds:schemaRef ds:uri="3a729cc2-9f6c-4d59-b548-c275a8c769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B2F6B3-ED4C-4F69-9175-8BFC4A4A7D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-2007-2010-slidepool-light</Template>
  <TotalTime>4392</TotalTime>
  <Words>1167</Words>
  <Application>Microsoft Office PowerPoint</Application>
  <PresentationFormat>On-screen Show (4:3)</PresentationFormat>
  <Paragraphs>210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Wingdings</vt:lpstr>
      <vt:lpstr>PP-2007-2010-slidepool-light</vt:lpstr>
      <vt:lpstr>Custom Design</vt:lpstr>
      <vt:lpstr>1_PP-2007-2010-slidepool-light</vt:lpstr>
      <vt:lpstr>6_PP-2007-2010-slidepool-light</vt:lpstr>
      <vt:lpstr>7_PP-2007-2010-slidepool-light</vt:lpstr>
      <vt:lpstr>8_PP-2007-2010-slidepool-light</vt:lpstr>
      <vt:lpstr>Worksheet</vt:lpstr>
      <vt:lpstr>PowerPoint Presentation</vt:lpstr>
      <vt:lpstr> TATA STEEL Goals</vt:lpstr>
      <vt:lpstr>Our Strategy</vt:lpstr>
      <vt:lpstr>Shipping Market (GHG Emissions - IMO and SCC)</vt:lpstr>
      <vt:lpstr>Future Regulations (GHG Emissions-EU Legislation &amp; CII)</vt:lpstr>
      <vt:lpstr>EU ETS Market</vt:lpstr>
      <vt:lpstr>Options available to charterers like TATA STEEL</vt:lpstr>
      <vt:lpstr>Sustainability Initiatives</vt:lpstr>
      <vt:lpstr>PowerPoint Presentation</vt:lpstr>
      <vt:lpstr>Carbon Intensity Targets - SCC</vt:lpstr>
      <vt:lpstr>GHG Trend Line Backup</vt:lpstr>
      <vt:lpstr>IMO GHG Study Data Set</vt:lpstr>
      <vt:lpstr>CII-Example-1</vt:lpstr>
      <vt:lpstr>CII Example-2</vt:lpstr>
    </vt:vector>
  </TitlesOfParts>
  <Company>Coru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nual Plan 2014/15 Review</dc:title>
  <dc:creator>Sudha Sharma</dc:creator>
  <cp:lastModifiedBy>Som Sekhar Mishra</cp:lastModifiedBy>
  <cp:revision>4395</cp:revision>
  <cp:lastPrinted>2021-04-07T16:15:50Z</cp:lastPrinted>
  <dcterms:created xsi:type="dcterms:W3CDTF">2013-11-08T10:34:40Z</dcterms:created>
  <dcterms:modified xsi:type="dcterms:W3CDTF">2022-02-25T04:3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1934B093728584E96E8457A4A5B5B48</vt:lpwstr>
  </property>
  <property fmtid="{D5CDD505-2E9C-101B-9397-08002B2CF9AE}" pid="3" name="NXTAG2">
    <vt:lpwstr>0008003a6b0000000000010282210207f7000400038000</vt:lpwstr>
  </property>
  <property fmtid="{D5CDD505-2E9C-101B-9397-08002B2CF9AE}" pid="4" name="MSIP_Label_73aa366c-74b9-492b-a1b9-5472c41e7d31_Enabled">
    <vt:lpwstr>True</vt:lpwstr>
  </property>
  <property fmtid="{D5CDD505-2E9C-101B-9397-08002B2CF9AE}" pid="5" name="MSIP_Label_73aa366c-74b9-492b-a1b9-5472c41e7d31_SiteId">
    <vt:lpwstr>44bbd632-fe04-42d7-933e-2649dcd22649</vt:lpwstr>
  </property>
  <property fmtid="{D5CDD505-2E9C-101B-9397-08002B2CF9AE}" pid="6" name="MSIP_Label_73aa366c-74b9-492b-a1b9-5472c41e7d31_Owner">
    <vt:lpwstr>Amit.Sharma@tatasteeleurope.com</vt:lpwstr>
  </property>
  <property fmtid="{D5CDD505-2E9C-101B-9397-08002B2CF9AE}" pid="7" name="MSIP_Label_73aa366c-74b9-492b-a1b9-5472c41e7d31_SetDate">
    <vt:lpwstr>2021-01-17T06:24:56.8443152Z</vt:lpwstr>
  </property>
  <property fmtid="{D5CDD505-2E9C-101B-9397-08002B2CF9AE}" pid="8" name="MSIP_Label_73aa366c-74b9-492b-a1b9-5472c41e7d31_Name">
    <vt:lpwstr>General</vt:lpwstr>
  </property>
  <property fmtid="{D5CDD505-2E9C-101B-9397-08002B2CF9AE}" pid="9" name="MSIP_Label_73aa366c-74b9-492b-a1b9-5472c41e7d31_Application">
    <vt:lpwstr>Microsoft Azure Information Protection</vt:lpwstr>
  </property>
  <property fmtid="{D5CDD505-2E9C-101B-9397-08002B2CF9AE}" pid="10" name="MSIP_Label_73aa366c-74b9-492b-a1b9-5472c41e7d31_ActionId">
    <vt:lpwstr>724156ce-9e02-48d1-a9e4-7a737ba39c6b</vt:lpwstr>
  </property>
  <property fmtid="{D5CDD505-2E9C-101B-9397-08002B2CF9AE}" pid="11" name="MSIP_Label_73aa366c-74b9-492b-a1b9-5472c41e7d31_Extended_MSFT_Method">
    <vt:lpwstr>Automatic</vt:lpwstr>
  </property>
  <property fmtid="{D5CDD505-2E9C-101B-9397-08002B2CF9AE}" pid="12" name="MSIP_Label_2f50afb6-ab6e-4e8b-96b5-6e00ab52e29e_Enabled">
    <vt:lpwstr>true</vt:lpwstr>
  </property>
  <property fmtid="{D5CDD505-2E9C-101B-9397-08002B2CF9AE}" pid="13" name="MSIP_Label_2f50afb6-ab6e-4e8b-96b5-6e00ab52e29e_SetDate">
    <vt:lpwstr>2022-01-29T09:56:22Z</vt:lpwstr>
  </property>
  <property fmtid="{D5CDD505-2E9C-101B-9397-08002B2CF9AE}" pid="14" name="MSIP_Label_2f50afb6-ab6e-4e8b-96b5-6e00ab52e29e_Method">
    <vt:lpwstr>Standard</vt:lpwstr>
  </property>
  <property fmtid="{D5CDD505-2E9C-101B-9397-08002B2CF9AE}" pid="15" name="MSIP_Label_2f50afb6-ab6e-4e8b-96b5-6e00ab52e29e_Name">
    <vt:lpwstr>2f50afb6-ab6e-4e8b-96b5-6e00ab52e29e</vt:lpwstr>
  </property>
  <property fmtid="{D5CDD505-2E9C-101B-9397-08002B2CF9AE}" pid="16" name="MSIP_Label_2f50afb6-ab6e-4e8b-96b5-6e00ab52e29e_SiteId">
    <vt:lpwstr>f35425af-4755-4e0c-b1bb-b3cb9f1c6afd</vt:lpwstr>
  </property>
  <property fmtid="{D5CDD505-2E9C-101B-9397-08002B2CF9AE}" pid="17" name="MSIP_Label_2f50afb6-ab6e-4e8b-96b5-6e00ab52e29e_ActionId">
    <vt:lpwstr>6ca72c2b-456b-43f9-bf49-5723b3c1d829</vt:lpwstr>
  </property>
  <property fmtid="{D5CDD505-2E9C-101B-9397-08002B2CF9AE}" pid="18" name="MSIP_Label_2f50afb6-ab6e-4e8b-96b5-6e00ab52e29e_ContentBits">
    <vt:lpwstr>0</vt:lpwstr>
  </property>
</Properties>
</file>